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5422154E-0F08-44FB-9E13-E83F61F6D0D2}">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ctor" id="{24E47D38-9D4A-4D85-9A7F-17EC9E046A56}">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Brackets By Segment" id="{CCFACE63-6F6C-46F3-9840-029A590AE423}">
          <p14:sldIdLst>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notesMaster" Target="notesMasters/notesMaster1.xml"/><Relationship Id="rId96" Type="http://schemas.openxmlformats.org/officeDocument/2006/relationships/presProps" Target="presProps.xml"/><Relationship Id="rId97" Type="http://schemas.openxmlformats.org/officeDocument/2006/relationships/viewProps" Target="viewProps.xml"/><Relationship Id="rId98" Type="http://schemas.openxmlformats.org/officeDocument/2006/relationships/theme" Target="theme/theme1.xml"/><Relationship Id="rId99" Type="http://schemas.openxmlformats.org/officeDocument/2006/relationships/tableStyles" Target="tableStyles.xml"/><Relationship Id="rId100" Type="http://schemas.microsoft.com/office/2015/10/relationships/revisionInfo" Target="revisionInfo.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2</c:v>
                </c:pt>
                <c:pt idx="1">
                  <c:v>0.10259212167398467</c:v>
                </c:pt>
                <c:pt idx="2">
                  <c:v>0.044696005610716065</c:v>
                </c:pt>
                <c:pt idx="3">
                  <c:v>0.1803136678177994</c:v>
                </c:pt>
                <c:pt idx="4">
                  <c:v>0.12735227071905772</c:v>
                </c:pt>
                <c:pt idx="5">
                  <c:v>0.05346036536462909</c:v>
                </c:pt>
                <c:pt idx="6">
                  <c:v>0.3707715893465016</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93164915343991</c:v>
                </c:pt>
                <c:pt idx="2">
                  <c:v>0.008318319211168853</c:v>
                </c:pt>
                <c:pt idx="3">
                  <c:v>0.012539000070998637</c:v>
                </c:pt>
                <c:pt idx="4">
                  <c:v>0.007847688475114883</c:v>
                </c:pt>
                <c:pt idx="5">
                  <c:v>0.009910882022491982</c:v>
                </c:pt>
                <c:pt idx="6">
                  <c:v>0.0005731436766533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c:v>
                </c:pt>
                <c:pt idx="4">
                  <c:v>0.4460427318613488</c:v>
                </c:pt>
                <c:pt idx="5">
                  <c:v>0.1356767557480783</c:v>
                </c:pt>
                <c:pt idx="6">
                  <c:v>0.17503664344260716</c:v>
                </c:pt>
                <c:pt idx="7">
                  <c:v>0.014649568460043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28</c:v>
                </c:pt>
                <c:pt idx="2">
                  <c:v>0.071099060052406</c:v>
                </c:pt>
                <c:pt idx="3">
                  <c:v>0.2764396051594939</c:v>
                </c:pt>
                <c:pt idx="4">
                  <c:v>0.16442298151294682</c:v>
                </c:pt>
                <c:pt idx="5">
                  <c:v>0.06296086511471767</c:v>
                </c:pt>
                <c:pt idx="6">
                  <c:v>0.1838390307517231</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70968769895331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7</c:v>
                </c:pt>
                <c:pt idx="1">
                  <c:v>0.0958160655331802</c:v>
                </c:pt>
                <c:pt idx="2">
                  <c:v>0.04033257280893811</c:v>
                </c:pt>
                <c:pt idx="3">
                  <c:v>0.18244703884368935</c:v>
                </c:pt>
                <c:pt idx="4">
                  <c:v>0.12933676829071597</c:v>
                </c:pt>
                <c:pt idx="5">
                  <c:v>0.055289665269220786</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044422219696647</c:v>
                </c:pt>
                <c:pt idx="2">
                  <c:v>0.008191584663003926</c:v>
                </c:pt>
                <c:pt idx="3">
                  <c:v>0.01264614931127674</c:v>
                </c:pt>
                <c:pt idx="4">
                  <c:v>0.007466289700235923</c:v>
                </c:pt>
                <c:pt idx="5">
                  <c:v>0.009525316990978557</c:v>
                </c:pt>
                <c:pt idx="6">
                  <c:v>0.00054396632292525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8</c:v>
                </c:pt>
                <c:pt idx="1">
                  <c:v>0.10089685436631027</c:v>
                </c:pt>
                <c:pt idx="2">
                  <c:v>0.04220597803109722</c:v>
                </c:pt>
                <c:pt idx="3">
                  <c:v>0.19017620271128785</c:v>
                </c:pt>
                <c:pt idx="4">
                  <c:v>0.11554308137836729</c:v>
                </c:pt>
                <c:pt idx="5">
                  <c:v>0.05405299340734489</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853260720827856</c:v>
                </c:pt>
                <c:pt idx="2">
                  <c:v>0.008678161760759915</c:v>
                </c:pt>
                <c:pt idx="3">
                  <c:v>0.012968841320668506</c:v>
                </c:pt>
                <c:pt idx="4">
                  <c:v>0.008187079657506676</c:v>
                </c:pt>
                <c:pt idx="5">
                  <c:v>0.010339617319266994</c:v>
                </c:pt>
                <c:pt idx="6">
                  <c:v>0.00059793732506390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c:v>
                </c:pt>
                <c:pt idx="1">
                  <c:v>0.08497509048214953</c:v>
                </c:pt>
                <c:pt idx="2">
                  <c:v>0.021280657310724264</c:v>
                </c:pt>
                <c:pt idx="3">
                  <c:v>0.1195039190711562</c:v>
                </c:pt>
                <c:pt idx="4">
                  <c:v>0.07512330802363663</c:v>
                </c:pt>
                <c:pt idx="5">
                  <c:v>0.044978898898985584</c:v>
                </c:pt>
                <c:pt idx="6">
                  <c:v>0.5084765924892165</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808003131640968</c:v>
                </c:pt>
                <c:pt idx="2">
                  <c:v>0.006991582897175139</c:v>
                </c:pt>
                <c:pt idx="3">
                  <c:v>0.004521677268884878</c:v>
                </c:pt>
                <c:pt idx="4">
                  <c:v>0.002732109949532017</c:v>
                </c:pt>
                <c:pt idx="5">
                  <c:v>0.0022396913854435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4</c:v>
                </c:pt>
                <c:pt idx="3">
                  <c:v>0.11301493567700069</c:v>
                </c:pt>
                <c:pt idx="4">
                  <c:v>0.45200317028960213</c:v>
                </c:pt>
                <c:pt idx="5">
                  <c:v>0.13794781278183973</c:v>
                </c:pt>
                <c:pt idx="6">
                  <c:v>0.1779665351404484</c:v>
                </c:pt>
                <c:pt idx="7">
                  <c:v>0.0148947836799185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62206536563935</c:v>
                </c:pt>
                <c:pt idx="2">
                  <c:v>0.001931840369391561</c:v>
                </c:pt>
                <c:pt idx="3">
                  <c:v>0.004793096154200613</c:v>
                </c:pt>
                <c:pt idx="4">
                  <c:v>0.002187812609489373</c:v>
                </c:pt>
                <c:pt idx="5">
                  <c:v>0.0076863484690218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4</c:v>
                </c:pt>
                <c:pt idx="1">
                  <c:v>0.12114250160819365</c:v>
                </c:pt>
                <c:pt idx="2">
                  <c:v>0.06889813844343273</c:v>
                </c:pt>
                <c:pt idx="3">
                  <c:v>0.2805879716201998</c:v>
                </c:pt>
                <c:pt idx="4">
                  <c:v>0.1666610466968672</c:v>
                </c:pt>
                <c:pt idx="5">
                  <c:v>0.06543388777111146</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8564558952784689</c:v>
                </c:pt>
                <c:pt idx="2">
                  <c:v>0.010844622730027793</c:v>
                </c:pt>
                <c:pt idx="3">
                  <c:v>0.023738941310914453</c:v>
                </c:pt>
                <c:pt idx="4">
                  <c:v>0.015179583520854254</c:v>
                </c:pt>
                <c:pt idx="5">
                  <c:v>0.02071809374898829</c:v>
                </c:pt>
                <c:pt idx="6">
                  <c:v>0.00115835592117925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7</c:v>
                </c:pt>
                <c:pt idx="1">
                  <c:v>0.0958160655331802</c:v>
                </c:pt>
                <c:pt idx="2">
                  <c:v>0.04033257280893811</c:v>
                </c:pt>
                <c:pt idx="3">
                  <c:v>0.18244703884368935</c:v>
                </c:pt>
                <c:pt idx="4">
                  <c:v>0.12933676829071597</c:v>
                </c:pt>
                <c:pt idx="5">
                  <c:v>0.055289665269220786</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8877181781843355</c:v>
                </c:pt>
                <c:pt idx="2">
                  <c:v>0.031979161180068515</c:v>
                </c:pt>
                <c:pt idx="3">
                  <c:v>0.013563522541374452</c:v>
                </c:pt>
                <c:pt idx="4">
                  <c:v>0.017560309271623414</c:v>
                </c:pt>
                <c:pt idx="5">
                  <c:v>0.0075901234339553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8</c:v>
                </c:pt>
                <c:pt idx="1">
                  <c:v>0.10089685436631027</c:v>
                </c:pt>
                <c:pt idx="2">
                  <c:v>0.04220597803109722</c:v>
                </c:pt>
                <c:pt idx="3">
                  <c:v>0.19017620271128785</c:v>
                </c:pt>
                <c:pt idx="4">
                  <c:v>0.11554308137836729</c:v>
                </c:pt>
                <c:pt idx="5">
                  <c:v>0.05405299340734489</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6</c:v>
                </c:pt>
                <c:pt idx="1">
                  <c:v>0.08977206552907227</c:v>
                </c:pt>
                <c:pt idx="2">
                  <c:v>0.02782075426821995</c:v>
                </c:pt>
                <c:pt idx="3">
                  <c:v>0.11681726774748076</c:v>
                </c:pt>
                <c:pt idx="4">
                  <c:v>0.0737232995722514</c:v>
                </c:pt>
                <c:pt idx="5">
                  <c:v>0.043499322041014504</c:v>
                </c:pt>
                <c:pt idx="6">
                  <c:v>0.5044018676621577</c:v>
                </c:pt>
                <c:pt idx="7">
                  <c:v>0.12582278176162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97429533891953</c:v>
                </c:pt>
                <c:pt idx="2">
                  <c:v>0.03335695792893343</c:v>
                </c:pt>
                <c:pt idx="3">
                  <c:v>0.01458050710000631</c:v>
                </c:pt>
                <c:pt idx="4">
                  <c:v>0.018117288700616657</c:v>
                </c:pt>
                <c:pt idx="5">
                  <c:v>0.00824682576972684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c:v>
                </c:pt>
                <c:pt idx="1">
                  <c:v>0.08497509048214953</c:v>
                </c:pt>
                <c:pt idx="2">
                  <c:v>0.021280657310724264</c:v>
                </c:pt>
                <c:pt idx="3">
                  <c:v>0.1195039190711562</c:v>
                </c:pt>
                <c:pt idx="4">
                  <c:v>0.07512330802363663</c:v>
                </c:pt>
                <c:pt idx="5">
                  <c:v>0.044978898898985584</c:v>
                </c:pt>
                <c:pt idx="6">
                  <c:v>0.5084765924892165</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7762765061188</c:v>
                </c:pt>
                <c:pt idx="2">
                  <c:v>0.014288487828934361</c:v>
                </c:pt>
                <c:pt idx="3">
                  <c:v>0.009354056676518367</c:v>
                </c:pt>
                <c:pt idx="4">
                  <c:v>0.008712526306472854</c:v>
                </c:pt>
                <c:pt idx="5">
                  <c:v>0.0060229629615178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5878564851907014</c:v>
                </c:pt>
                <c:pt idx="1">
                  <c:v>0.03368016845299274</c:v>
                </c:pt>
                <c:pt idx="2">
                  <c:v>0.006729009088670806</c:v>
                </c:pt>
                <c:pt idx="3">
                  <c:v>0.004401625504090695</c:v>
                </c:pt>
                <c:pt idx="4">
                  <c:v>0.002629574750504303</c:v>
                </c:pt>
                <c:pt idx="5">
                  <c:v>0.00215557820169110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4</c:v>
                </c:pt>
                <c:pt idx="3">
                  <c:v>0.11301493567700069</c:v>
                </c:pt>
                <c:pt idx="4">
                  <c:v>0.45200317028960213</c:v>
                </c:pt>
                <c:pt idx="5">
                  <c:v>0.13794781278183973</c:v>
                </c:pt>
                <c:pt idx="6">
                  <c:v>0.1779665351404484</c:v>
                </c:pt>
                <c:pt idx="7">
                  <c:v>0.0148947836799185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7836926852182174</c:v>
                </c:pt>
                <c:pt idx="3">
                  <c:v>0.01582352086464997</c:v>
                </c:pt>
                <c:pt idx="4">
                  <c:v>0.008556239167758285</c:v>
                </c:pt>
                <c:pt idx="5">
                  <c:v>0.0116671636368772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4</c:v>
                </c:pt>
                <c:pt idx="1">
                  <c:v>0.12114250160819365</c:v>
                </c:pt>
                <c:pt idx="2">
                  <c:v>0.06889813844343273</c:v>
                </c:pt>
                <c:pt idx="3">
                  <c:v>0.2805879716201998</c:v>
                </c:pt>
                <c:pt idx="4">
                  <c:v>0.1666610466968672</c:v>
                </c:pt>
                <c:pt idx="5">
                  <c:v>0.06543388777111146</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9098620926539454</c:v>
                </c:pt>
                <c:pt idx="1">
                  <c:v>0.0094357163802176</c:v>
                </c:pt>
                <c:pt idx="2">
                  <c:v>0.05766459814853258</c:v>
                </c:pt>
                <c:pt idx="3">
                  <c:v>0.021268731677116025</c:v>
                </c:pt>
                <c:pt idx="4">
                  <c:v>0.030181279108835855</c:v>
                </c:pt>
                <c:pt idx="5">
                  <c:v>0.0110975417902417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730145186994277</c:v>
                </c:pt>
                <c:pt idx="2">
                  <c:v>0.007870807486262243</c:v>
                </c:pt>
                <c:pt idx="3">
                  <c:v>0.01228747367749129</c:v>
                </c:pt>
                <c:pt idx="4">
                  <c:v>0.0071739953034813345</c:v>
                </c:pt>
                <c:pt idx="5">
                  <c:v>0.009152311715731214</c:v>
                </c:pt>
                <c:pt idx="6">
                  <c:v>0.00052266495225169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7</c:v>
                </c:pt>
                <c:pt idx="1">
                  <c:v>0.0958160655331802</c:v>
                </c:pt>
                <c:pt idx="2">
                  <c:v>0.04033257280893811</c:v>
                </c:pt>
                <c:pt idx="3">
                  <c:v>0.18244703884368935</c:v>
                </c:pt>
                <c:pt idx="4">
                  <c:v>0.12933676829071597</c:v>
                </c:pt>
                <c:pt idx="5">
                  <c:v>0.055289665269220786</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13646201092882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8</c:v>
                </c:pt>
                <c:pt idx="1">
                  <c:v>0.10089685436631027</c:v>
                </c:pt>
                <c:pt idx="2">
                  <c:v>0.04220597803109722</c:v>
                </c:pt>
                <c:pt idx="3">
                  <c:v>0.19017620271128785</c:v>
                </c:pt>
                <c:pt idx="4">
                  <c:v>0.11554308137836729</c:v>
                </c:pt>
                <c:pt idx="5">
                  <c:v>0.05405299340734489</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40616939581945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c:v>
                </c:pt>
                <c:pt idx="1">
                  <c:v>0.08497509048214953</c:v>
                </c:pt>
                <c:pt idx="2">
                  <c:v>0.021280657310724264</c:v>
                </c:pt>
                <c:pt idx="3">
                  <c:v>0.1195039190711562</c:v>
                </c:pt>
                <c:pt idx="4">
                  <c:v>0.07512330802363663</c:v>
                </c:pt>
                <c:pt idx="5">
                  <c:v>0.044978898898985584</c:v>
                </c:pt>
                <c:pt idx="6">
                  <c:v>0.5084765924892165</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4</c:v>
                </c:pt>
                <c:pt idx="3">
                  <c:v>0.11301493567700069</c:v>
                </c:pt>
                <c:pt idx="4">
                  <c:v>0.45200317028960213</c:v>
                </c:pt>
                <c:pt idx="5">
                  <c:v>0.13794781278183973</c:v>
                </c:pt>
                <c:pt idx="6">
                  <c:v>0.1779665351404484</c:v>
                </c:pt>
                <c:pt idx="7">
                  <c:v>0.0148947836799185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4</c:v>
                </c:pt>
                <c:pt idx="1">
                  <c:v>0.12114250160819365</c:v>
                </c:pt>
                <c:pt idx="2">
                  <c:v>0.06889813844343273</c:v>
                </c:pt>
                <c:pt idx="3">
                  <c:v>0.2805879716201998</c:v>
                </c:pt>
                <c:pt idx="4">
                  <c:v>0.1666610466968672</c:v>
                </c:pt>
                <c:pt idx="5">
                  <c:v>0.06543388777111146</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5072017426512618</c:v>
                </c:pt>
                <c:pt idx="6">
                  <c:v>0.0074429142687377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390588131394627</c:v>
                </c:pt>
                <c:pt idx="4">
                  <c:v>0.03383857844780762</c:v>
                </c:pt>
                <c:pt idx="5">
                  <c:v>0.38389048752964255</c:v>
                </c:pt>
                <c:pt idx="6">
                  <c:v>0.042914548107363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3921041411156</c:v>
                </c:pt>
                <c:pt idx="1">
                  <c:v>0.058382685048397255</c:v>
                </c:pt>
                <c:pt idx="2">
                  <c:v>0.04276265407618904</c:v>
                </c:pt>
                <c:pt idx="3">
                  <c:v>0.1264169865371495</c:v>
                </c:pt>
                <c:pt idx="4">
                  <c:v>0.12928428207127315</c:v>
                </c:pt>
                <c:pt idx="5">
                  <c:v>0.04075750824447758</c:v>
                </c:pt>
                <c:pt idx="6">
                  <c:v>0.4564327896125312</c:v>
                </c:pt>
                <c:pt idx="7">
                  <c:v>0.134923883995870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469528177101033</c:v>
                </c:pt>
                <c:pt idx="4">
                  <c:v>0.00905952305495513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8776680471487734</c:v>
                </c:pt>
                <c:pt idx="7">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1223319528512265</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595955698596936</c:v>
                </c:pt>
                <c:pt idx="6">
                  <c:v>0.8598657177736876</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c:v>
                </c:pt>
                <c:pt idx="4">
                  <c:v>0.4460427318613488</c:v>
                </c:pt>
                <c:pt idx="5">
                  <c:v>0.1356767557480783</c:v>
                </c:pt>
                <c:pt idx="6">
                  <c:v>0.17503664344260716</c:v>
                </c:pt>
                <c:pt idx="7">
                  <c:v>0.014649568460043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4826287370664063</c:v>
                </c:pt>
                <c:pt idx="3">
                  <c:v>0.20537048250134118</c:v>
                </c:pt>
                <c:pt idx="4">
                  <c:v>0.08785595723896077</c:v>
                </c:pt>
                <c:pt idx="5">
                  <c:v>0.03418151303154203</c:v>
                </c:pt>
                <c:pt idx="6">
                  <c:v>0.39282710445221</c:v>
                </c:pt>
                <c:pt idx="7">
                  <c:v>0.0313484251595412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6726907533115</c:v>
                </c:pt>
                <c:pt idx="6">
                  <c:v>0.6852718518745856</c:v>
                </c:pt>
                <c:pt idx="7">
                  <c:v>0.172521812884237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091669450978862</c:v>
                </c:pt>
                <c:pt idx="2">
                  <c:v>0.06928718256115209</c:v>
                </c:pt>
                <c:pt idx="3">
                  <c:v>0.3534321665227871</c:v>
                </c:pt>
                <c:pt idx="4">
                  <c:v>0.20920402268703614</c:v>
                </c:pt>
                <c:pt idx="5">
                  <c:v>0.08802230082637741</c:v>
                </c:pt>
                <c:pt idx="6">
                  <c:v>0.06658361138092758</c:v>
                </c:pt>
                <c:pt idx="7">
                  <c:v>0.0325540215119311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3684602684908817</c:v>
                </c:pt>
                <c:pt idx="2">
                  <c:v>0.038992651596410334</c:v>
                </c:pt>
                <c:pt idx="3">
                  <c:v>0.059564943445955226</c:v>
                </c:pt>
                <c:pt idx="4">
                  <c:v>0.01460726781804336</c:v>
                </c:pt>
                <c:pt idx="5">
                  <c:v>0.045336279898848905</c:v>
                </c:pt>
                <c:pt idx="6">
                  <c:v>0.0025893267520996216</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908580902239345</c:v>
                </c:pt>
                <c:pt idx="2">
                  <c:v>0.1614258997137877</c:v>
                </c:pt>
                <c:pt idx="3">
                  <c:v>0.3313283840250727</c:v>
                </c:pt>
                <c:pt idx="4">
                  <c:v>0.29014079678295185</c:v>
                </c:pt>
                <c:pt idx="5">
                  <c:v>0.16109879617618722</c:v>
                </c:pt>
                <c:pt idx="7">
                  <c:v>0.0168993528435896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782484273553414</c:v>
                </c:pt>
                <c:pt idx="2">
                  <c:v>0.001900036170611335</c:v>
                </c:pt>
                <c:pt idx="3">
                  <c:v>0.010826972869844109</c:v>
                </c:pt>
                <c:pt idx="4">
                  <c:v>0.0021517942985416626</c:v>
                </c:pt>
                <c:pt idx="5">
                  <c:v>0.00755980687765849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296499750722278</c:v>
                </c:pt>
                <c:pt idx="3">
                  <c:v>0.16538321937553646</c:v>
                </c:pt>
                <c:pt idx="4">
                  <c:v>0.30462597033640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455135067580918</c:v>
                </c:pt>
                <c:pt idx="4">
                  <c:v>0.03385198554864963</c:v>
                </c:pt>
                <c:pt idx="5">
                  <c:v>0.37681560046746754</c:v>
                </c:pt>
                <c:pt idx="6">
                  <c:v>0.043511414849016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345431854607736</c:v>
                </c:pt>
                <c:pt idx="1">
                  <c:v>0.06320115435268366</c:v>
                </c:pt>
                <c:pt idx="2">
                  <c:v>0.04486591868821252</c:v>
                </c:pt>
                <c:pt idx="3">
                  <c:v>0.13539900498670862</c:v>
                </c:pt>
                <c:pt idx="4">
                  <c:v>0.10874069182968779</c:v>
                </c:pt>
                <c:pt idx="5">
                  <c:v>0.03426159556801945</c:v>
                </c:pt>
                <c:pt idx="6">
                  <c:v>0.4530915227427317</c:v>
                </c:pt>
                <c:pt idx="7">
                  <c:v>0.14809467997734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867104569846787</c:v>
                </c:pt>
                <c:pt idx="4">
                  <c:v>0.01015734182200818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7914516152751601</c:v>
                </c:pt>
                <c:pt idx="6">
                  <c:v>0.8470631440928788</c:v>
                </c:pt>
                <c:pt idx="7">
                  <c:v>0.151145404291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5284961810685025</c:v>
                </c:pt>
                <c:pt idx="3">
                  <c:v>0.21205170613682256</c:v>
                </c:pt>
                <c:pt idx="4">
                  <c:v>0.08474479488926728</c:v>
                </c:pt>
                <c:pt idx="5">
                  <c:v>0.03452668641581497</c:v>
                </c:pt>
                <c:pt idx="6">
                  <c:v>0.3849449373825592</c:v>
                </c:pt>
                <c:pt idx="7">
                  <c:v>0.0307162285481882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159564866399</c:v>
                </c:pt>
                <c:pt idx="6">
                  <c:v>0.6834653415499186</c:v>
                </c:pt>
                <c:pt idx="7">
                  <c:v>0.17437787264433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700084256627025</c:v>
                </c:pt>
                <c:pt idx="2">
                  <c:v>0.07221799448989746</c:v>
                </c:pt>
                <c:pt idx="3">
                  <c:v>0.3532292193121936</c:v>
                </c:pt>
                <c:pt idx="4">
                  <c:v>0.19174437618068824</c:v>
                </c:pt>
                <c:pt idx="5">
                  <c:v>0.09236401314778303</c:v>
                </c:pt>
                <c:pt idx="6">
                  <c:v>0.06908024254258796</c:v>
                </c:pt>
                <c:pt idx="7">
                  <c:v>0.03436331176057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4268526995737027</c:v>
                </c:pt>
                <c:pt idx="2">
                  <c:v>0.040238050025519584</c:v>
                </c:pt>
                <c:pt idx="3">
                  <c:v>0.059456095726477545</c:v>
                </c:pt>
                <c:pt idx="4">
                  <c:v>0.01562742841048879</c:v>
                </c:pt>
                <c:pt idx="5">
                  <c:v>0.04793631328948426</c:v>
                </c:pt>
                <c:pt idx="6">
                  <c:v>0.0027724571932777747</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8686132243781</c:v>
                </c:pt>
                <c:pt idx="2">
                  <c:v>0.16341584790033742</c:v>
                </c:pt>
                <c:pt idx="3">
                  <c:v>0.3373077481821707</c:v>
                </c:pt>
                <c:pt idx="4">
                  <c:v>0.27779265914531437</c:v>
                </c:pt>
                <c:pt idx="5">
                  <c:v>0.16370524691502164</c:v>
                </c:pt>
                <c:pt idx="7">
                  <c:v>0.0173697936445004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1206542484423936</c:v>
                </c:pt>
                <c:pt idx="7">
                  <c:v>0.88793457515576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66007625610574</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67602320953992</c:v>
                </c:pt>
                <c:pt idx="4">
                  <c:v>0.000615256834217974</c:v>
                </c:pt>
                <c:pt idx="5">
                  <c:v>0.3879015735317965</c:v>
                </c:pt>
                <c:pt idx="6">
                  <c:v>0.0434642964487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565520534732885</c:v>
                </c:pt>
                <c:pt idx="1">
                  <c:v>0.031154587334245542</c:v>
                </c:pt>
                <c:pt idx="2">
                  <c:v>0.020807699774336056</c:v>
                </c:pt>
                <c:pt idx="3">
                  <c:v>0.0954958499755396</c:v>
                </c:pt>
                <c:pt idx="4">
                  <c:v>0.06746877020851029</c:v>
                </c:pt>
                <c:pt idx="5">
                  <c:v>0.024547715623997487</c:v>
                </c:pt>
                <c:pt idx="6">
                  <c:v>0.5920974388177375</c:v>
                </c:pt>
                <c:pt idx="7">
                  <c:v>0.149862417730900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24204853302206</c:v>
                </c:pt>
                <c:pt idx="3">
                  <c:v>0.0005548800820008892</c:v>
                </c:pt>
                <c:pt idx="4">
                  <c:v>0.001574259842092408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21374617123771917</c:v>
                </c:pt>
                <c:pt idx="6">
                  <c:v>0.8667398112071898</c:v>
                </c:pt>
                <c:pt idx="7">
                  <c:v>0.13112272708043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077924676096767</c:v>
                </c:pt>
                <c:pt idx="3">
                  <c:v>0.07961563759801588</c:v>
                </c:pt>
                <c:pt idx="4">
                  <c:v>0.03165670208195996</c:v>
                </c:pt>
                <c:pt idx="5">
                  <c:v>0.04397825367116419</c:v>
                </c:pt>
                <c:pt idx="6">
                  <c:v>0.497733514900632</c:v>
                </c:pt>
                <c:pt idx="7">
                  <c:v>0.039223424138551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939449575773618</c:v>
                </c:pt>
                <c:pt idx="6">
                  <c:v>0.7005108798369513</c:v>
                </c:pt>
                <c:pt idx="7">
                  <c:v>0.179943505737610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24466419672988</c:v>
                </c:pt>
                <c:pt idx="2">
                  <c:v>0.08172625543035715</c:v>
                </c:pt>
                <c:pt idx="3">
                  <c:v>0.24480043865306636</c:v>
                </c:pt>
                <c:pt idx="4">
                  <c:v>0.24454369992503602</c:v>
                </c:pt>
                <c:pt idx="5">
                  <c:v>0.08904761250738681</c:v>
                </c:pt>
                <c:pt idx="6">
                  <c:v>0.1330635754102968</c:v>
                </c:pt>
                <c:pt idx="7">
                  <c:v>0.02437177610655798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168327415027585</c:v>
                </c:pt>
                <c:pt idx="2">
                  <c:v>0.05064542436843976</c:v>
                </c:pt>
                <c:pt idx="3">
                  <c:v>0.030875103045724266</c:v>
                </c:pt>
                <c:pt idx="4">
                  <c:v>0.014460144552626257</c:v>
                </c:pt>
                <c:pt idx="5">
                  <c:v>0.016208727819245348</c:v>
                </c:pt>
                <c:pt idx="6">
                  <c:v>0.00116342827480579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7964065030143132</c:v>
                </c:pt>
                <c:pt idx="2">
                  <c:v>0.013602829114983997</c:v>
                </c:pt>
                <c:pt idx="3">
                  <c:v>0.49617556617358266</c:v>
                </c:pt>
                <c:pt idx="4">
                  <c:v>0.14453563173687603</c:v>
                </c:pt>
                <c:pt idx="5">
                  <c:v>0.22155790835362257</c:v>
                </c:pt>
                <c:pt idx="7">
                  <c:v>0.044487414319503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3365420697248531</c:v>
                </c:pt>
                <c:pt idx="7">
                  <c:v>0.66345793027514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63170039245222</c:v>
                </c:pt>
                <c:pt idx="3">
                  <c:v>0.20357644695987978</c:v>
                </c:pt>
                <c:pt idx="4">
                  <c:v>0.18010654911559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28</c:v>
                </c:pt>
                <c:pt idx="2">
                  <c:v>0.071099060052406</c:v>
                </c:pt>
                <c:pt idx="3">
                  <c:v>0.2764396051594939</c:v>
                </c:pt>
                <c:pt idx="4">
                  <c:v>0.16442298151294682</c:v>
                </c:pt>
                <c:pt idx="5">
                  <c:v>0.06296086511471767</c:v>
                </c:pt>
                <c:pt idx="6">
                  <c:v>0.1838390307517231</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9523217456228274</c:v>
                </c:pt>
                <c:pt idx="2">
                  <c:v>0.010340432622765534</c:v>
                </c:pt>
                <c:pt idx="3">
                  <c:v>0.022813468214128472</c:v>
                </c:pt>
                <c:pt idx="4">
                  <c:v>0.014473962389167008</c:v>
                </c:pt>
                <c:pt idx="5">
                  <c:v>0.019754864490616</c:v>
                </c:pt>
                <c:pt idx="6">
                  <c:v>0.00110450143396596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6588213473236</c:v>
                </c:pt>
                <c:pt idx="2">
                  <c:v>0.07461501955736166</c:v>
                </c:pt>
                <c:pt idx="3">
                  <c:v>0.06265618333638082</c:v>
                </c:pt>
                <c:pt idx="4">
                  <c:v>0.38861810029344446</c:v>
                </c:pt>
                <c:pt idx="5">
                  <c:v>0.18140879638977883</c:v>
                </c:pt>
                <c:pt idx="6">
                  <c:v>0.25360618944662355</c:v>
                </c:pt>
                <c:pt idx="7">
                  <c:v>0.0133491227629374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0725307512713065</c:v>
                </c:pt>
                <c:pt idx="4">
                  <c:v>0.003352411106666742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6154631728398134</c:v>
                </c:pt>
                <c:pt idx="3">
                  <c:v>0.013362064625268098</c:v>
                </c:pt>
                <c:pt idx="4">
                  <c:v>0.62509161809075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81150435387003</c:v>
                </c:pt>
                <c:pt idx="2">
                  <c:v>0.009023029950675394</c:v>
                </c:pt>
                <c:pt idx="3">
                  <c:v>0.26842274932031923</c:v>
                </c:pt>
                <c:pt idx="4">
                  <c:v>0.602469584402468</c:v>
                </c:pt>
                <c:pt idx="5">
                  <c:v>0.0706325736188831</c:v>
                </c:pt>
                <c:pt idx="6">
                  <c:v>0.004027399659740352</c:v>
                </c:pt>
                <c:pt idx="7">
                  <c:v>0.00161315869404396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24871750436505</c:v>
                </c:pt>
                <c:pt idx="2">
                  <c:v>0.009023029950675394</c:v>
                </c:pt>
                <c:pt idx="3">
                  <c:v>0.022387072369463093</c:v>
                </c:pt>
                <c:pt idx="5">
                  <c:v>0.03590056070168769</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077495919702386</c:v>
                </c:pt>
                <c:pt idx="3">
                  <c:v>0.48469970991892264</c:v>
                </c:pt>
                <c:pt idx="4">
                  <c:v>0.3255301083013407</c:v>
                </c:pt>
                <c:pt idx="5">
                  <c:v>0.183692685860034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83416859590863</c:v>
                </c:pt>
                <c:pt idx="4">
                  <c:v>0.88165831404091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8323137582216347</c:v>
                </c:pt>
                <c:pt idx="4">
                  <c:v>0.12756769144485797</c:v>
                </c:pt>
                <c:pt idx="5">
                  <c:v>0.34555859134500094</c:v>
                </c:pt>
                <c:pt idx="6">
                  <c:v>0.0436423413879776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77255017115453</c:v>
                </c:pt>
                <c:pt idx="1">
                  <c:v>0.10275460699199793</c:v>
                </c:pt>
                <c:pt idx="2">
                  <c:v>0.07452431771173887</c:v>
                </c:pt>
                <c:pt idx="3">
                  <c:v>0.1847929950696299</c:v>
                </c:pt>
                <c:pt idx="4">
                  <c:v>0.15995004510518301</c:v>
                </c:pt>
                <c:pt idx="5">
                  <c:v>0.04565810785664899</c:v>
                </c:pt>
                <c:pt idx="6">
                  <c:v>0.28150313848753045</c:v>
                </c:pt>
                <c:pt idx="7">
                  <c:v>0.146139533760155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752010094222853</c:v>
                </c:pt>
                <c:pt idx="4">
                  <c:v>0.02079951459832937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7453720150873316</c:v>
                </c:pt>
                <c:pt idx="7">
                  <c:v>0.2546279849126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3276876283850825</c:v>
                </c:pt>
                <c:pt idx="2">
                  <c:v>0.000529191915432767</c:v>
                </c:pt>
                <c:pt idx="3">
                  <c:v>0.501761871279927</c:v>
                </c:pt>
                <c:pt idx="4">
                  <c:v>0.20055375221334065</c:v>
                </c:pt>
                <c:pt idx="5">
                  <c:v>0.013867185455262469</c:v>
                </c:pt>
                <c:pt idx="6">
                  <c:v>0.13839841112544363</c:v>
                </c:pt>
                <c:pt idx="7">
                  <c:v>0.0121208251720852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5161236964209295</c:v>
                </c:pt>
                <c:pt idx="6">
                  <c:v>0.45015992071536365</c:v>
                </c:pt>
                <c:pt idx="7">
                  <c:v>0.0982277096425434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955635983955524</c:v>
                </c:pt>
                <c:pt idx="2">
                  <c:v>0.0671341309705425</c:v>
                </c:pt>
                <c:pt idx="3">
                  <c:v>0.4147558120511201</c:v>
                </c:pt>
                <c:pt idx="4">
                  <c:v>0.16046104812317322</c:v>
                </c:pt>
                <c:pt idx="5">
                  <c:v>0.09455982604569826</c:v>
                </c:pt>
                <c:pt idx="6">
                  <c:v>0.03341952460971831</c:v>
                </c:pt>
                <c:pt idx="7">
                  <c:v>0.0401132983601923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5702576509496746</c:v>
                </c:pt>
                <c:pt idx="2">
                  <c:v>0.034520681209163254</c:v>
                </c:pt>
                <c:pt idx="3">
                  <c:v>0.07556203659950914</c:v>
                </c:pt>
                <c:pt idx="4">
                  <c:v>0.01634594345008505</c:v>
                </c:pt>
                <c:pt idx="5">
                  <c:v>0.06594998529455988</c:v>
                </c:pt>
                <c:pt idx="6">
                  <c:v>0.003687286914191535</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92446550085264</c:v>
                </c:pt>
                <c:pt idx="2">
                  <c:v>0.2409523597865038</c:v>
                </c:pt>
                <c:pt idx="3">
                  <c:v>0.2547038071650205</c:v>
                </c:pt>
                <c:pt idx="4">
                  <c:v>0.34774215219080973</c:v>
                </c:pt>
                <c:pt idx="5">
                  <c:v>0.13367468023439683</c:v>
                </c:pt>
                <c:pt idx="7">
                  <c:v>0.00296925109662312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2639617657950515</c:v>
                </c:pt>
                <c:pt idx="3">
                  <c:v>0.0780618262685514</c:v>
                </c:pt>
                <c:pt idx="4">
                  <c:v>0.5942527979215495</c:v>
                </c:pt>
                <c:pt idx="6">
                  <c:v>0.0012891992303939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390588131394627</c:v>
                </c:pt>
                <c:pt idx="4">
                  <c:v>0.03383857844780762</c:v>
                </c:pt>
                <c:pt idx="5">
                  <c:v>0.38389048752964255</c:v>
                </c:pt>
                <c:pt idx="6">
                  <c:v>0.042914548107363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3921041411156</c:v>
                </c:pt>
                <c:pt idx="1">
                  <c:v>0.058382685048397255</c:v>
                </c:pt>
                <c:pt idx="2">
                  <c:v>0.04276265407618904</c:v>
                </c:pt>
                <c:pt idx="3">
                  <c:v>0.1264169865371495</c:v>
                </c:pt>
                <c:pt idx="4">
                  <c:v>0.12928428207127315</c:v>
                </c:pt>
                <c:pt idx="5">
                  <c:v>0.04075750824447758</c:v>
                </c:pt>
                <c:pt idx="6">
                  <c:v>0.4564327896125312</c:v>
                </c:pt>
                <c:pt idx="7">
                  <c:v>0.134923883995870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2746687544798746</c:v>
                </c:pt>
                <c:pt idx="3">
                  <c:v>0.0074331189929562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8776680471487734</c:v>
                </c:pt>
                <c:pt idx="7">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595955698596936</c:v>
                </c:pt>
                <c:pt idx="6">
                  <c:v>0.8598657177736876</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2</c:v>
                </c:pt>
                <c:pt idx="1">
                  <c:v>0.10259212167398467</c:v>
                </c:pt>
                <c:pt idx="2">
                  <c:v>0.044696005610716065</c:v>
                </c:pt>
                <c:pt idx="3">
                  <c:v>0.1803136678177994</c:v>
                </c:pt>
                <c:pt idx="4">
                  <c:v>0.12735227071905772</c:v>
                </c:pt>
                <c:pt idx="5">
                  <c:v>0.05346036536462909</c:v>
                </c:pt>
                <c:pt idx="6">
                  <c:v>0.3707715893465016</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18139552121635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4826287370664063</c:v>
                </c:pt>
                <c:pt idx="3">
                  <c:v>0.20537048250134118</c:v>
                </c:pt>
                <c:pt idx="4">
                  <c:v>0.08785595723896077</c:v>
                </c:pt>
                <c:pt idx="5">
                  <c:v>0.03418151303154203</c:v>
                </c:pt>
                <c:pt idx="6">
                  <c:v>0.39282710445221</c:v>
                </c:pt>
                <c:pt idx="7">
                  <c:v>0.0313484251595412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6726907533115</c:v>
                </c:pt>
                <c:pt idx="6">
                  <c:v>0.6852718518745856</c:v>
                </c:pt>
                <c:pt idx="7">
                  <c:v>0.172521812884237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091669450978862</c:v>
                </c:pt>
                <c:pt idx="2">
                  <c:v>0.06928718256115209</c:v>
                </c:pt>
                <c:pt idx="3">
                  <c:v>0.3534321665227871</c:v>
                </c:pt>
                <c:pt idx="4">
                  <c:v>0.20920402268703614</c:v>
                </c:pt>
                <c:pt idx="5">
                  <c:v>0.08802230082637741</c:v>
                </c:pt>
                <c:pt idx="6">
                  <c:v>0.06658361138092758</c:v>
                </c:pt>
                <c:pt idx="7">
                  <c:v>0.0325540215119311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999686719448667</c:v>
                </c:pt>
                <c:pt idx="2">
                  <c:v>0.029947161467412886</c:v>
                </c:pt>
                <c:pt idx="3">
                  <c:v>0.008559274109821673</c:v>
                </c:pt>
                <c:pt idx="4">
                  <c:v>0.03939748857059025</c:v>
                </c:pt>
                <c:pt idx="5">
                  <c:v>0.01926922526180005</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908580902239345</c:v>
                </c:pt>
                <c:pt idx="2">
                  <c:v>0.1614258997137877</c:v>
                </c:pt>
                <c:pt idx="3">
                  <c:v>0.3313283840250727</c:v>
                </c:pt>
                <c:pt idx="4">
                  <c:v>0.29014079678295185</c:v>
                </c:pt>
                <c:pt idx="5">
                  <c:v>0.16109879617618722</c:v>
                </c:pt>
                <c:pt idx="7">
                  <c:v>0.0168993528435896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15937276319629176</c:v>
                </c:pt>
                <c:pt idx="3">
                  <c:v>0.2632662480862833</c:v>
                </c:pt>
                <c:pt idx="4">
                  <c:v>0.2857518975520657</c:v>
                </c:pt>
                <c:pt idx="5">
                  <c:v>0.0874181740118539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2317112325384537</c:v>
                </c:pt>
                <c:pt idx="1">
                  <c:v>0.0056571589283753885</c:v>
                </c:pt>
                <c:pt idx="2">
                  <c:v>0.03628055923652602</c:v>
                </c:pt>
                <c:pt idx="3">
                  <c:v>0.013032383738995429</c:v>
                </c:pt>
                <c:pt idx="4">
                  <c:v>0.016872883359759557</c:v>
                </c:pt>
                <c:pt idx="5">
                  <c:v>0.00729289909136130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296499750722278</c:v>
                </c:pt>
                <c:pt idx="3">
                  <c:v>0.16538321937553646</c:v>
                </c:pt>
                <c:pt idx="4">
                  <c:v>0.30462597033640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668824672198573</c:v>
                </c:pt>
                <c:pt idx="4">
                  <c:v>0.043412814637384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455135067580918</c:v>
                </c:pt>
                <c:pt idx="4">
                  <c:v>0.03385198554864963</c:v>
                </c:pt>
                <c:pt idx="5">
                  <c:v>0.37681560046746754</c:v>
                </c:pt>
                <c:pt idx="6">
                  <c:v>0.043511414849016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345431854607736</c:v>
                </c:pt>
                <c:pt idx="1">
                  <c:v>0.06320115435268366</c:v>
                </c:pt>
                <c:pt idx="2">
                  <c:v>0.04486591868821252</c:v>
                </c:pt>
                <c:pt idx="3">
                  <c:v>0.13539900498670862</c:v>
                </c:pt>
                <c:pt idx="4">
                  <c:v>0.10874069182968779</c:v>
                </c:pt>
                <c:pt idx="5">
                  <c:v>0.03426159556801945</c:v>
                </c:pt>
                <c:pt idx="6">
                  <c:v>0.4530915227427317</c:v>
                </c:pt>
                <c:pt idx="7">
                  <c:v>0.14809467997734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486280282245139</c:v>
                </c:pt>
                <c:pt idx="3">
                  <c:v>0.0082424219414398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7914516152751601</c:v>
                </c:pt>
                <c:pt idx="6">
                  <c:v>0.8470631440928788</c:v>
                </c:pt>
                <c:pt idx="7">
                  <c:v>0.151145404291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203640516858154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5284961810685025</c:v>
                </c:pt>
                <c:pt idx="3">
                  <c:v>0.21205170613682256</c:v>
                </c:pt>
                <c:pt idx="4">
                  <c:v>0.08474479488926728</c:v>
                </c:pt>
                <c:pt idx="5">
                  <c:v>0.03452668641581497</c:v>
                </c:pt>
                <c:pt idx="6">
                  <c:v>0.3849449373825592</c:v>
                </c:pt>
                <c:pt idx="7">
                  <c:v>0.0307162285481882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159564866399</c:v>
                </c:pt>
                <c:pt idx="6">
                  <c:v>0.6834653415499186</c:v>
                </c:pt>
                <c:pt idx="7">
                  <c:v>0.17437787264433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700084256627025</c:v>
                </c:pt>
                <c:pt idx="2">
                  <c:v>0.07221799448989746</c:v>
                </c:pt>
                <c:pt idx="3">
                  <c:v>0.3532292193121936</c:v>
                </c:pt>
                <c:pt idx="4">
                  <c:v>0.19174437618068824</c:v>
                </c:pt>
                <c:pt idx="5">
                  <c:v>0.09236401314778303</c:v>
                </c:pt>
                <c:pt idx="6">
                  <c:v>0.06908024254258796</c:v>
                </c:pt>
                <c:pt idx="7">
                  <c:v>0.03436331176057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672797842506237</c:v>
                </c:pt>
                <c:pt idx="2">
                  <c:v>0.03160795821826115</c:v>
                </c:pt>
                <c:pt idx="3">
                  <c:v>0.008669499999399997</c:v>
                </c:pt>
                <c:pt idx="4">
                  <c:v>0.040580169747638443</c:v>
                </c:pt>
                <c:pt idx="5">
                  <c:v>0.020377235785225288</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8686132243781</c:v>
                </c:pt>
                <c:pt idx="2">
                  <c:v>0.16341584790033742</c:v>
                </c:pt>
                <c:pt idx="3">
                  <c:v>0.3373077481821707</c:v>
                </c:pt>
                <c:pt idx="4">
                  <c:v>0.27779265914531437</c:v>
                </c:pt>
                <c:pt idx="5">
                  <c:v>0.16370524691502164</c:v>
                </c:pt>
                <c:pt idx="7">
                  <c:v>0.0173697936445004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16127395927904273</c:v>
                </c:pt>
                <c:pt idx="3">
                  <c:v>0.26958461686735063</c:v>
                </c:pt>
                <c:pt idx="4">
                  <c:v>0.2732325337792928</c:v>
                </c:pt>
                <c:pt idx="5">
                  <c:v>0.090203330057870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1206542484423936</c:v>
                </c:pt>
                <c:pt idx="7">
                  <c:v>0.88793457515576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66007625610574</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16780304895938</c:v>
                </c:pt>
                <c:pt idx="4">
                  <c:v>0.042460340829030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67602320953992</c:v>
                </c:pt>
                <c:pt idx="4">
                  <c:v>0.000615256834217974</c:v>
                </c:pt>
                <c:pt idx="5">
                  <c:v>0.3879015735317965</c:v>
                </c:pt>
                <c:pt idx="6">
                  <c:v>0.0434642964487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565520534732885</c:v>
                </c:pt>
                <c:pt idx="1">
                  <c:v>0.031154587334245542</c:v>
                </c:pt>
                <c:pt idx="2">
                  <c:v>0.020807699774336056</c:v>
                </c:pt>
                <c:pt idx="3">
                  <c:v>0.0954958499755396</c:v>
                </c:pt>
                <c:pt idx="4">
                  <c:v>0.06746877020851029</c:v>
                </c:pt>
                <c:pt idx="5">
                  <c:v>0.024547715623997487</c:v>
                </c:pt>
                <c:pt idx="6">
                  <c:v>0.5920974388177375</c:v>
                </c:pt>
                <c:pt idx="7">
                  <c:v>0.149862417730900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2080644492109905</c:v>
                </c:pt>
                <c:pt idx="3">
                  <c:v>0.00436708576945690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21374617123771917</c:v>
                </c:pt>
                <c:pt idx="6">
                  <c:v>0.8667398112071898</c:v>
                </c:pt>
                <c:pt idx="7">
                  <c:v>0.13112272708043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077924676096767</c:v>
                </c:pt>
                <c:pt idx="3">
                  <c:v>0.07961563759801588</c:v>
                </c:pt>
                <c:pt idx="4">
                  <c:v>0.03165670208195996</c:v>
                </c:pt>
                <c:pt idx="5">
                  <c:v>0.04397825367116419</c:v>
                </c:pt>
                <c:pt idx="6">
                  <c:v>0.497733514900632</c:v>
                </c:pt>
                <c:pt idx="7">
                  <c:v>0.039223424138551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939449575773618</c:v>
                </c:pt>
                <c:pt idx="6">
                  <c:v>0.7005108798369513</c:v>
                </c:pt>
                <c:pt idx="7">
                  <c:v>0.179943505737610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24466419672988</c:v>
                </c:pt>
                <c:pt idx="2">
                  <c:v>0.08172625543035715</c:v>
                </c:pt>
                <c:pt idx="3">
                  <c:v>0.24480043865306636</c:v>
                </c:pt>
                <c:pt idx="4">
                  <c:v>0.24454369992503602</c:v>
                </c:pt>
                <c:pt idx="5">
                  <c:v>0.08904761250738681</c:v>
                </c:pt>
                <c:pt idx="6">
                  <c:v>0.1330635754102968</c:v>
                </c:pt>
                <c:pt idx="7">
                  <c:v>0.02437177610655798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663694195172655</c:v>
                </c:pt>
                <c:pt idx="2">
                  <c:v>0.03108083106191739</c:v>
                </c:pt>
                <c:pt idx="3">
                  <c:v>0.0014218955665862031</c:v>
                </c:pt>
                <c:pt idx="4">
                  <c:v>0.04372561120404974</c:v>
                </c:pt>
                <c:pt idx="5">
                  <c:v>0.02771095986877438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7964065030143132</c:v>
                </c:pt>
                <c:pt idx="2">
                  <c:v>0.013602829114983997</c:v>
                </c:pt>
                <c:pt idx="3">
                  <c:v>0.49617556617358266</c:v>
                </c:pt>
                <c:pt idx="4">
                  <c:v>0.14453563173687603</c:v>
                </c:pt>
                <c:pt idx="5">
                  <c:v>0.22155790835362257</c:v>
                </c:pt>
                <c:pt idx="7">
                  <c:v>0.044487414319503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3602829114983997</c:v>
                </c:pt>
                <c:pt idx="3">
                  <c:v>0.3562063457579643</c:v>
                </c:pt>
                <c:pt idx="4">
                  <c:v>0.1339363209240952</c:v>
                </c:pt>
                <c:pt idx="5">
                  <c:v>0.103939419972655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3365420697248531</c:v>
                </c:pt>
                <c:pt idx="7">
                  <c:v>0.66345793027514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63170039245222</c:v>
                </c:pt>
                <c:pt idx="3">
                  <c:v>0.20357644695987978</c:v>
                </c:pt>
                <c:pt idx="4">
                  <c:v>0.18010654911559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6</c:v>
                </c:pt>
                <c:pt idx="2">
                  <c:v>0.04693510634994417</c:v>
                </c:pt>
                <c:pt idx="3">
                  <c:v>0.1872191590499942</c:v>
                </c:pt>
                <c:pt idx="4">
                  <c:v>0.11397427204804375</c:v>
                </c:pt>
                <c:pt idx="5">
                  <c:v>0.052179556095082326</c:v>
                </c:pt>
                <c:pt idx="6">
                  <c:v>0.3627052633420753</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3402078134440649</c:v>
                </c:pt>
                <c:pt idx="1">
                  <c:v>0.0057265694119279864</c:v>
                </c:pt>
                <c:pt idx="2">
                  <c:v>0.03805666643155646</c:v>
                </c:pt>
                <c:pt idx="3">
                  <c:v>0.013975922051485914</c:v>
                </c:pt>
                <c:pt idx="4">
                  <c:v>0.01736629615185529</c:v>
                </c:pt>
                <c:pt idx="5">
                  <c:v>0.0079048686948506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6588213473236</c:v>
                </c:pt>
                <c:pt idx="2">
                  <c:v>0.07461501955736166</c:v>
                </c:pt>
                <c:pt idx="3">
                  <c:v>0.06265618333638082</c:v>
                </c:pt>
                <c:pt idx="4">
                  <c:v>0.38861810029344446</c:v>
                </c:pt>
                <c:pt idx="5">
                  <c:v>0.18140879638977883</c:v>
                </c:pt>
                <c:pt idx="6">
                  <c:v>0.25360618944662355</c:v>
                </c:pt>
                <c:pt idx="7">
                  <c:v>0.0133491227629374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7307617984079623</c:v>
                </c:pt>
                <c:pt idx="3">
                  <c:v>0.00230159607853853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6154631728398134</c:v>
                </c:pt>
                <c:pt idx="3">
                  <c:v>0.013362064625268098</c:v>
                </c:pt>
                <c:pt idx="4">
                  <c:v>0.62509161809075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81150435387003</c:v>
                </c:pt>
                <c:pt idx="2">
                  <c:v>0.009023029950675394</c:v>
                </c:pt>
                <c:pt idx="3">
                  <c:v>0.26842274932031923</c:v>
                </c:pt>
                <c:pt idx="4">
                  <c:v>0.602469584402468</c:v>
                </c:pt>
                <c:pt idx="5">
                  <c:v>0.0706325736188831</c:v>
                </c:pt>
                <c:pt idx="6">
                  <c:v>0.004027399659740352</c:v>
                </c:pt>
                <c:pt idx="7">
                  <c:v>0.00161315869404396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24329310219529</c:v>
                </c:pt>
                <c:pt idx="3">
                  <c:v>0.028177449319760215</c:v>
                </c:pt>
                <c:pt idx="4">
                  <c:v>0.0036226658393102382</c:v>
                </c:pt>
                <c:pt idx="5">
                  <c:v>0.0337729130213603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077495919702386</c:v>
                </c:pt>
                <c:pt idx="3">
                  <c:v>0.48469970991892264</c:v>
                </c:pt>
                <c:pt idx="4">
                  <c:v>0.3255301083013407</c:v>
                </c:pt>
                <c:pt idx="5">
                  <c:v>0.183692685860034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077495919702386</c:v>
                </c:pt>
                <c:pt idx="3">
                  <c:v>0.343202587602503</c:v>
                </c:pt>
                <c:pt idx="4">
                  <c:v>0.32216675366896397</c:v>
                </c:pt>
                <c:pt idx="5">
                  <c:v>0.183692685860034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83416859590863</c:v>
                </c:pt>
                <c:pt idx="4">
                  <c:v>0.88165831404091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8323137582216347</c:v>
                </c:pt>
                <c:pt idx="4">
                  <c:v>0.12756769144485797</c:v>
                </c:pt>
                <c:pt idx="5">
                  <c:v>0.34555859134500094</c:v>
                </c:pt>
                <c:pt idx="6">
                  <c:v>0.0436423413879776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77255017115453</c:v>
                </c:pt>
                <c:pt idx="1">
                  <c:v>0.10275460699199793</c:v>
                </c:pt>
                <c:pt idx="2">
                  <c:v>0.07452431771173887</c:v>
                </c:pt>
                <c:pt idx="3">
                  <c:v>0.1847929950696299</c:v>
                </c:pt>
                <c:pt idx="4">
                  <c:v>0.15995004510518301</c:v>
                </c:pt>
                <c:pt idx="5">
                  <c:v>0.04565810785664899</c:v>
                </c:pt>
                <c:pt idx="6">
                  <c:v>0.28150313848753045</c:v>
                </c:pt>
                <c:pt idx="7">
                  <c:v>0.146139533760155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7451889230717418</c:v>
                </c:pt>
                <c:pt idx="3">
                  <c:v>0.01305542082078493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7453720150873316</c:v>
                </c:pt>
                <c:pt idx="7">
                  <c:v>0.2546279849126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9110735125094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3276876283850825</c:v>
                </c:pt>
                <c:pt idx="2">
                  <c:v>0.000529191915432767</c:v>
                </c:pt>
                <c:pt idx="3">
                  <c:v>0.501761871279927</c:v>
                </c:pt>
                <c:pt idx="4">
                  <c:v>0.20055375221334065</c:v>
                </c:pt>
                <c:pt idx="5">
                  <c:v>0.013867185455262469</c:v>
                </c:pt>
                <c:pt idx="6">
                  <c:v>0.13839841112544363</c:v>
                </c:pt>
                <c:pt idx="7">
                  <c:v>0.0121208251720852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5161236964209295</c:v>
                </c:pt>
                <c:pt idx="6">
                  <c:v>0.45015992071536365</c:v>
                </c:pt>
                <c:pt idx="7">
                  <c:v>0.0982277096425434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955635983955524</c:v>
                </c:pt>
                <c:pt idx="2">
                  <c:v>0.0671341309705425</c:v>
                </c:pt>
                <c:pt idx="3">
                  <c:v>0.4147558120511201</c:v>
                </c:pt>
                <c:pt idx="4">
                  <c:v>0.16046104812317322</c:v>
                </c:pt>
                <c:pt idx="5">
                  <c:v>0.09455982604569826</c:v>
                </c:pt>
                <c:pt idx="6">
                  <c:v>0.03341952460971831</c:v>
                </c:pt>
                <c:pt idx="7">
                  <c:v>0.0401132983601923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0035840365350994</c:v>
                </c:pt>
                <c:pt idx="2">
                  <c:v>0.03203102516269953</c:v>
                </c:pt>
                <c:pt idx="3">
                  <c:v>0.01268764187799383</c:v>
                </c:pt>
                <c:pt idx="4">
                  <c:v>0.038976536710875205</c:v>
                </c:pt>
                <c:pt idx="5">
                  <c:v>0.01630188857378416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92446550085264</c:v>
                </c:pt>
                <c:pt idx="2">
                  <c:v>0.2409523597865038</c:v>
                </c:pt>
                <c:pt idx="3">
                  <c:v>0.2547038071650205</c:v>
                </c:pt>
                <c:pt idx="4">
                  <c:v>0.34774215219080973</c:v>
                </c:pt>
                <c:pt idx="5">
                  <c:v>0.13367468023439683</c:v>
                </c:pt>
                <c:pt idx="7">
                  <c:v>0.00296925109662312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23768855354910087</c:v>
                </c:pt>
                <c:pt idx="3">
                  <c:v>0.22465032969858018</c:v>
                </c:pt>
                <c:pt idx="4">
                  <c:v>0.34633187054240194</c:v>
                </c:pt>
                <c:pt idx="5">
                  <c:v>0.083137202630276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2639617657950515</c:v>
                </c:pt>
                <c:pt idx="3">
                  <c:v>0.0780618262685514</c:v>
                </c:pt>
                <c:pt idx="4">
                  <c:v>0.5942527979215495</c:v>
                </c:pt>
                <c:pt idx="6">
                  <c:v>0.0012891992303939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13880965722467523</c:v>
                </c:pt>
                <c:pt idx="4">
                  <c:v>0.154422567635501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390588131394627</c:v>
                </c:pt>
                <c:pt idx="4">
                  <c:v>0.03383857844780762</c:v>
                </c:pt>
                <c:pt idx="5">
                  <c:v>0.38389048752964255</c:v>
                </c:pt>
                <c:pt idx="6">
                  <c:v>0.042914548107363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3921041411156</c:v>
                </c:pt>
                <c:pt idx="1">
                  <c:v>0.058382685048397255</c:v>
                </c:pt>
                <c:pt idx="2">
                  <c:v>0.04276265407618904</c:v>
                </c:pt>
                <c:pt idx="3">
                  <c:v>0.1264169865371495</c:v>
                </c:pt>
                <c:pt idx="4">
                  <c:v>0.12928428207127315</c:v>
                </c:pt>
                <c:pt idx="5">
                  <c:v>0.04075750824447758</c:v>
                </c:pt>
                <c:pt idx="6">
                  <c:v>0.4564327896125312</c:v>
                </c:pt>
                <c:pt idx="7">
                  <c:v>0.134923883995870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8776680471487734</c:v>
                </c:pt>
                <c:pt idx="7">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595955698596936</c:v>
                </c:pt>
                <c:pt idx="6">
                  <c:v>0.8598657177736876</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6</c:v>
                </c:pt>
                <c:pt idx="1">
                  <c:v>0.08977206552907227</c:v>
                </c:pt>
                <c:pt idx="2">
                  <c:v>0.02782075426821995</c:v>
                </c:pt>
                <c:pt idx="3">
                  <c:v>0.11681726774748076</c:v>
                </c:pt>
                <c:pt idx="4">
                  <c:v>0.0737232995722514</c:v>
                </c:pt>
                <c:pt idx="5">
                  <c:v>0.043499322041014504</c:v>
                </c:pt>
                <c:pt idx="6">
                  <c:v>0.5044018676621577</c:v>
                </c:pt>
                <c:pt idx="7">
                  <c:v>0.12582278176162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4826287370664063</c:v>
                </c:pt>
                <c:pt idx="3">
                  <c:v>0.20537048250134118</c:v>
                </c:pt>
                <c:pt idx="4">
                  <c:v>0.08785595723896077</c:v>
                </c:pt>
                <c:pt idx="5">
                  <c:v>0.03418151303154203</c:v>
                </c:pt>
                <c:pt idx="6">
                  <c:v>0.39282710445221</c:v>
                </c:pt>
                <c:pt idx="7">
                  <c:v>0.0313484251595412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6726907533115</c:v>
                </c:pt>
                <c:pt idx="6">
                  <c:v>0.6852718518745856</c:v>
                </c:pt>
                <c:pt idx="7">
                  <c:v>0.172521812884237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091669450978862</c:v>
                </c:pt>
                <c:pt idx="2">
                  <c:v>0.06928718256115209</c:v>
                </c:pt>
                <c:pt idx="3">
                  <c:v>0.3534321665227871</c:v>
                </c:pt>
                <c:pt idx="4">
                  <c:v>0.20920402268703614</c:v>
                </c:pt>
                <c:pt idx="5">
                  <c:v>0.08802230082637741</c:v>
                </c:pt>
                <c:pt idx="6">
                  <c:v>0.06658361138092758</c:v>
                </c:pt>
                <c:pt idx="7">
                  <c:v>0.0325540215119311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730050534357766</c:v>
                </c:pt>
                <c:pt idx="6">
                  <c:v>0.014929830486873836</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908580902239345</c:v>
                </c:pt>
                <c:pt idx="2">
                  <c:v>0.1614258997137877</c:v>
                </c:pt>
                <c:pt idx="3">
                  <c:v>0.3313283840250727</c:v>
                </c:pt>
                <c:pt idx="4">
                  <c:v>0.29014079678295185</c:v>
                </c:pt>
                <c:pt idx="5">
                  <c:v>0.16109879617618722</c:v>
                </c:pt>
                <c:pt idx="7">
                  <c:v>0.0168993528435896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154534041090638</c:v>
                </c:pt>
                <c:pt idx="2">
                  <c:v>0.021018590380633254</c:v>
                </c:pt>
                <c:pt idx="3">
                  <c:v>0.009002758505182775</c:v>
                </c:pt>
                <c:pt idx="4">
                  <c:v>0.008385762332592885</c:v>
                </c:pt>
                <c:pt idx="5">
                  <c:v>0.0057967663553207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296499750722278</c:v>
                </c:pt>
                <c:pt idx="3">
                  <c:v>0.16538321937553646</c:v>
                </c:pt>
                <c:pt idx="4">
                  <c:v>0.30462597033640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455135067580918</c:v>
                </c:pt>
                <c:pt idx="4">
                  <c:v>0.03385198554864963</c:v>
                </c:pt>
                <c:pt idx="5">
                  <c:v>0.37681560046746754</c:v>
                </c:pt>
                <c:pt idx="6">
                  <c:v>0.043511414849016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345431854607736</c:v>
                </c:pt>
                <c:pt idx="1">
                  <c:v>0.06320115435268366</c:v>
                </c:pt>
                <c:pt idx="2">
                  <c:v>0.04486591868821252</c:v>
                </c:pt>
                <c:pt idx="3">
                  <c:v>0.13539900498670862</c:v>
                </c:pt>
                <c:pt idx="4">
                  <c:v>0.10874069182968779</c:v>
                </c:pt>
                <c:pt idx="5">
                  <c:v>0.03426159556801945</c:v>
                </c:pt>
                <c:pt idx="6">
                  <c:v>0.4530915227427317</c:v>
                </c:pt>
                <c:pt idx="7">
                  <c:v>0.14809467997734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7914516152751601</c:v>
                </c:pt>
                <c:pt idx="6">
                  <c:v>0.8470631440928788</c:v>
                </c:pt>
                <c:pt idx="7">
                  <c:v>0.151145404291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25284961810685025</c:v>
                </c:pt>
                <c:pt idx="3">
                  <c:v>0.21205170613682256</c:v>
                </c:pt>
                <c:pt idx="4">
                  <c:v>0.08474479488926728</c:v>
                </c:pt>
                <c:pt idx="5">
                  <c:v>0.03452668641581497</c:v>
                </c:pt>
                <c:pt idx="6">
                  <c:v>0.3849449373825592</c:v>
                </c:pt>
                <c:pt idx="7">
                  <c:v>0.0307162285481882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420159564866399</c:v>
                </c:pt>
                <c:pt idx="6">
                  <c:v>0.6834653415499186</c:v>
                </c:pt>
                <c:pt idx="7">
                  <c:v>0.17437787264433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700084256627025</c:v>
                </c:pt>
                <c:pt idx="2">
                  <c:v>0.07221799448989746</c:v>
                </c:pt>
                <c:pt idx="3">
                  <c:v>0.3532292193121936</c:v>
                </c:pt>
                <c:pt idx="4">
                  <c:v>0.19174437618068824</c:v>
                </c:pt>
                <c:pt idx="5">
                  <c:v>0.09236401314778303</c:v>
                </c:pt>
                <c:pt idx="6">
                  <c:v>0.06908024254258796</c:v>
                </c:pt>
                <c:pt idx="7">
                  <c:v>0.03436331176057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0316625435654826</c:v>
                </c:pt>
                <c:pt idx="6">
                  <c:v>0.0157933924629189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8686132243781</c:v>
                </c:pt>
                <c:pt idx="2">
                  <c:v>0.16341584790033742</c:v>
                </c:pt>
                <c:pt idx="3">
                  <c:v>0.3373077481821707</c:v>
                </c:pt>
                <c:pt idx="4">
                  <c:v>0.27779265914531437</c:v>
                </c:pt>
                <c:pt idx="5">
                  <c:v>0.16370524691502164</c:v>
                </c:pt>
                <c:pt idx="7">
                  <c:v>0.0173697936445004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1206542484423936</c:v>
                </c:pt>
                <c:pt idx="7">
                  <c:v>0.88793457515576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66007625610574</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567602320953992</c:v>
                </c:pt>
                <c:pt idx="4">
                  <c:v>0.000615256834217974</c:v>
                </c:pt>
                <c:pt idx="5">
                  <c:v>0.3879015735317965</c:v>
                </c:pt>
                <c:pt idx="6">
                  <c:v>0.0434642964487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565520534732885</c:v>
                </c:pt>
                <c:pt idx="1">
                  <c:v>0.031154587334245542</c:v>
                </c:pt>
                <c:pt idx="2">
                  <c:v>0.020807699774336056</c:v>
                </c:pt>
                <c:pt idx="3">
                  <c:v>0.0954958499755396</c:v>
                </c:pt>
                <c:pt idx="4">
                  <c:v>0.06746877020851029</c:v>
                </c:pt>
                <c:pt idx="5">
                  <c:v>0.024547715623997487</c:v>
                </c:pt>
                <c:pt idx="6">
                  <c:v>0.5920974388177375</c:v>
                </c:pt>
                <c:pt idx="7">
                  <c:v>0.149862417730900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21374617123771917</c:v>
                </c:pt>
                <c:pt idx="6">
                  <c:v>0.8667398112071898</c:v>
                </c:pt>
                <c:pt idx="7">
                  <c:v>0.13112272708043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077924676096767</c:v>
                </c:pt>
                <c:pt idx="3">
                  <c:v>0.07961563759801588</c:v>
                </c:pt>
                <c:pt idx="4">
                  <c:v>0.03165670208195996</c:v>
                </c:pt>
                <c:pt idx="5">
                  <c:v>0.04397825367116419</c:v>
                </c:pt>
                <c:pt idx="6">
                  <c:v>0.497733514900632</c:v>
                </c:pt>
                <c:pt idx="7">
                  <c:v>0.039223424138551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939449575773618</c:v>
                </c:pt>
                <c:pt idx="6">
                  <c:v>0.7005108798369513</c:v>
                </c:pt>
                <c:pt idx="7">
                  <c:v>0.179943505737610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24466419672988</c:v>
                </c:pt>
                <c:pt idx="2">
                  <c:v>0.08172625543035715</c:v>
                </c:pt>
                <c:pt idx="3">
                  <c:v>0.24480043865306636</c:v>
                </c:pt>
                <c:pt idx="4">
                  <c:v>0.24454369992503602</c:v>
                </c:pt>
                <c:pt idx="5">
                  <c:v>0.08904761250738681</c:v>
                </c:pt>
                <c:pt idx="6">
                  <c:v>0.1330635754102968</c:v>
                </c:pt>
                <c:pt idx="7">
                  <c:v>0.02437177610655798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18435421693650089</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7964065030143132</c:v>
                </c:pt>
                <c:pt idx="2">
                  <c:v>0.013602829114983997</c:v>
                </c:pt>
                <c:pt idx="3">
                  <c:v>0.49617556617358266</c:v>
                </c:pt>
                <c:pt idx="4">
                  <c:v>0.14453563173687603</c:v>
                </c:pt>
                <c:pt idx="5">
                  <c:v>0.22155790835362257</c:v>
                </c:pt>
                <c:pt idx="7">
                  <c:v>0.044487414319503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3365420697248531</c:v>
                </c:pt>
                <c:pt idx="7">
                  <c:v>0.66345793027514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63170039245222</c:v>
                </c:pt>
                <c:pt idx="3">
                  <c:v>0.20357644695987978</c:v>
                </c:pt>
                <c:pt idx="4">
                  <c:v>0.18010654911559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c:v>
                </c:pt>
                <c:pt idx="4">
                  <c:v>0.4460427318613488</c:v>
                </c:pt>
                <c:pt idx="5">
                  <c:v>0.1356767557480783</c:v>
                </c:pt>
                <c:pt idx="6">
                  <c:v>0.17503664344260716</c:v>
                </c:pt>
                <c:pt idx="7">
                  <c:v>0.014649568460043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704937982979487</c:v>
                </c:pt>
                <c:pt idx="3">
                  <c:v>0.015563015695094539</c:v>
                </c:pt>
                <c:pt idx="4">
                  <c:v>0.008415376425880578</c:v>
                </c:pt>
                <c:pt idx="5">
                  <c:v>0.011475085245003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6588213473236</c:v>
                </c:pt>
                <c:pt idx="2">
                  <c:v>0.07461501955736166</c:v>
                </c:pt>
                <c:pt idx="3">
                  <c:v>0.06265618333638082</c:v>
                </c:pt>
                <c:pt idx="4">
                  <c:v>0.38861810029344446</c:v>
                </c:pt>
                <c:pt idx="5">
                  <c:v>0.18140879638977883</c:v>
                </c:pt>
                <c:pt idx="6">
                  <c:v>0.25360618944662355</c:v>
                </c:pt>
                <c:pt idx="7">
                  <c:v>0.0133491227629374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36154631728398134</c:v>
                </c:pt>
                <c:pt idx="3">
                  <c:v>0.013362064625268098</c:v>
                </c:pt>
                <c:pt idx="4">
                  <c:v>0.62509161809075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81150435387003</c:v>
                </c:pt>
                <c:pt idx="2">
                  <c:v>0.009023029950675394</c:v>
                </c:pt>
                <c:pt idx="3">
                  <c:v>0.26842274932031923</c:v>
                </c:pt>
                <c:pt idx="4">
                  <c:v>0.602469584402468</c:v>
                </c:pt>
                <c:pt idx="5">
                  <c:v>0.0706325736188831</c:v>
                </c:pt>
                <c:pt idx="6">
                  <c:v>0.004027399659740352</c:v>
                </c:pt>
                <c:pt idx="7">
                  <c:v>0.00161315869404396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59099895835080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077495919702386</c:v>
                </c:pt>
                <c:pt idx="3">
                  <c:v>0.48469970991892264</c:v>
                </c:pt>
                <c:pt idx="4">
                  <c:v>0.3255301083013407</c:v>
                </c:pt>
                <c:pt idx="5">
                  <c:v>0.183692685860034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1183416859590863</c:v>
                </c:pt>
                <c:pt idx="4">
                  <c:v>0.88165831404091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8323137582216347</c:v>
                </c:pt>
                <c:pt idx="4">
                  <c:v>0.12756769144485797</c:v>
                </c:pt>
                <c:pt idx="5">
                  <c:v>0.34555859134500094</c:v>
                </c:pt>
                <c:pt idx="6">
                  <c:v>0.0436423413879776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77255017115453</c:v>
                </c:pt>
                <c:pt idx="1">
                  <c:v>0.10275460699199793</c:v>
                </c:pt>
                <c:pt idx="2">
                  <c:v>0.07452431771173887</c:v>
                </c:pt>
                <c:pt idx="3">
                  <c:v>0.1847929950696299</c:v>
                </c:pt>
                <c:pt idx="4">
                  <c:v>0.15995004510518301</c:v>
                </c:pt>
                <c:pt idx="5">
                  <c:v>0.04565810785664899</c:v>
                </c:pt>
                <c:pt idx="6">
                  <c:v>0.28150313848753045</c:v>
                </c:pt>
                <c:pt idx="7">
                  <c:v>0.146139533760155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7453720150873316</c:v>
                </c:pt>
                <c:pt idx="7">
                  <c:v>0.2546279849126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3276876283850825</c:v>
                </c:pt>
                <c:pt idx="2">
                  <c:v>0.000529191915432767</c:v>
                </c:pt>
                <c:pt idx="3">
                  <c:v>0.501761871279927</c:v>
                </c:pt>
                <c:pt idx="4">
                  <c:v>0.20055375221334065</c:v>
                </c:pt>
                <c:pt idx="5">
                  <c:v>0.013867185455262469</c:v>
                </c:pt>
                <c:pt idx="6">
                  <c:v>0.13839841112544363</c:v>
                </c:pt>
                <c:pt idx="7">
                  <c:v>0.0121208251720852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45161236964209295</c:v>
                </c:pt>
                <c:pt idx="6">
                  <c:v>0.45015992071536365</c:v>
                </c:pt>
                <c:pt idx="7">
                  <c:v>0.0982277096425434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18955635983955524</c:v>
                </c:pt>
                <c:pt idx="2">
                  <c:v>0.0671341309705425</c:v>
                </c:pt>
                <c:pt idx="3">
                  <c:v>0.4147558120511201</c:v>
                </c:pt>
                <c:pt idx="4">
                  <c:v>0.16046104812317322</c:v>
                </c:pt>
                <c:pt idx="5">
                  <c:v>0.09455982604569826</c:v>
                </c:pt>
                <c:pt idx="6">
                  <c:v>0.03341952460971831</c:v>
                </c:pt>
                <c:pt idx="7">
                  <c:v>0.0401132983601923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6145282415694878</c:v>
                </c:pt>
                <c:pt idx="6">
                  <c:v>0.0236923383260534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92446550085264</c:v>
                </c:pt>
                <c:pt idx="2">
                  <c:v>0.2409523597865038</c:v>
                </c:pt>
                <c:pt idx="3">
                  <c:v>0.2547038071650205</c:v>
                </c:pt>
                <c:pt idx="4">
                  <c:v>0.34774215219080973</c:v>
                </c:pt>
                <c:pt idx="5">
                  <c:v>0.13367468023439683</c:v>
                </c:pt>
                <c:pt idx="7">
                  <c:v>0.002969251096623122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2639617657950515</c:v>
                </c:pt>
                <c:pt idx="3">
                  <c:v>0.0780618262685514</c:v>
                </c:pt>
                <c:pt idx="4">
                  <c:v>0.5942527979215495</c:v>
                </c:pt>
                <c:pt idx="6">
                  <c:v>0.0012891992303939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28</c:v>
                </c:pt>
                <c:pt idx="2">
                  <c:v>0.071099060052406</c:v>
                </c:pt>
                <c:pt idx="3">
                  <c:v>0.2764396051594939</c:v>
                </c:pt>
                <c:pt idx="4">
                  <c:v>0.16442298151294682</c:v>
                </c:pt>
                <c:pt idx="5">
                  <c:v>0.06296086511471767</c:v>
                </c:pt>
                <c:pt idx="6">
                  <c:v>0.1838390307517231</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5082096443099704</c:v>
                </c:pt>
                <c:pt idx="1">
                  <c:v>0.008997029394762095</c:v>
                </c:pt>
                <c:pt idx="2">
                  <c:v>0.05958053341297741</c:v>
                </c:pt>
                <c:pt idx="3">
                  <c:v>0.020279902063345786</c:v>
                </c:pt>
                <c:pt idx="4">
                  <c:v>0.028778085772375995</c:v>
                </c:pt>
                <c:pt idx="5">
                  <c:v>0.0105815929255499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2</c:v>
                </c:pt>
                <c:pt idx="1">
                  <c:v>0.10259212167398467</c:v>
                </c:pt>
                <c:pt idx="2">
                  <c:v>0.044696005610716065</c:v>
                </c:pt>
                <c:pt idx="3">
                  <c:v>0.1803136678177994</c:v>
                </c:pt>
                <c:pt idx="4">
                  <c:v>0.12735227071905772</c:v>
                </c:pt>
                <c:pt idx="5">
                  <c:v>0.05346036536462909</c:v>
                </c:pt>
                <c:pt idx="6">
                  <c:v>0.3707715893465016</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01364017971865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6</c:v>
                </c:pt>
                <c:pt idx="2">
                  <c:v>0.04693510634994417</c:v>
                </c:pt>
                <c:pt idx="3">
                  <c:v>0.1872191590499942</c:v>
                </c:pt>
                <c:pt idx="4">
                  <c:v>0.11397427204804375</c:v>
                </c:pt>
                <c:pt idx="5">
                  <c:v>0.052179556095082326</c:v>
                </c:pt>
                <c:pt idx="6">
                  <c:v>0.3627052633420753</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6</c:v>
                </c:pt>
                <c:pt idx="2">
                  <c:v>0.04693510634994417</c:v>
                </c:pt>
                <c:pt idx="3">
                  <c:v>0.1872191590499942</c:v>
                </c:pt>
                <c:pt idx="4">
                  <c:v>0.11397427204804375</c:v>
                </c:pt>
                <c:pt idx="5">
                  <c:v>0.052179556095082326</c:v>
                </c:pt>
                <c:pt idx="6">
                  <c:v>0.3627052633420753</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26493157224339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6</c:v>
                </c:pt>
                <c:pt idx="1">
                  <c:v>0.08977206552907227</c:v>
                </c:pt>
                <c:pt idx="2">
                  <c:v>0.02782075426821995</c:v>
                </c:pt>
                <c:pt idx="3">
                  <c:v>0.11681726774748076</c:v>
                </c:pt>
                <c:pt idx="4">
                  <c:v>0.0737232995722514</c:v>
                </c:pt>
                <c:pt idx="5">
                  <c:v>0.043499322041014504</c:v>
                </c:pt>
                <c:pt idx="6">
                  <c:v>0.5044018676621577</c:v>
                </c:pt>
                <c:pt idx="7">
                  <c:v>0.12582278176162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 Id="rId8" Type="http://schemas.openxmlformats.org/officeDocument/2006/relationships/chart" Target="../charts/chart299.xml"/><Relationship Id="rId9" Type="http://schemas.openxmlformats.org/officeDocument/2006/relationships/chart" Target="../charts/chart300.xml"/><Relationship Id="rId10" Type="http://schemas.openxmlformats.org/officeDocument/2006/relationships/chart" Target="../charts/chart301.xml"/><Relationship Id="rId11" Type="http://schemas.openxmlformats.org/officeDocument/2006/relationships/chart" Target="../charts/chart302.xml"/><Relationship Id="rId12" Type="http://schemas.openxmlformats.org/officeDocument/2006/relationships/chart" Target="../charts/chart303.xml"/><Relationship Id="rId13" Type="http://schemas.openxmlformats.org/officeDocument/2006/relationships/chart" Target="../charts/chart304.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 Id="rId7" Type="http://schemas.openxmlformats.org/officeDocument/2006/relationships/chart" Target="../charts/chart306.xml"/><Relationship Id="rId8" Type="http://schemas.openxmlformats.org/officeDocument/2006/relationships/chart" Target="../charts/chart307.xml"/><Relationship Id="rId9" Type="http://schemas.openxmlformats.org/officeDocument/2006/relationships/chart" Target="../charts/chart308.xml"/><Relationship Id="rId10" Type="http://schemas.openxmlformats.org/officeDocument/2006/relationships/chart" Target="../charts/chart309.xml"/><Relationship Id="rId11" Type="http://schemas.openxmlformats.org/officeDocument/2006/relationships/chart" Target="../charts/chart310.xml"/><Relationship Id="rId12" Type="http://schemas.openxmlformats.org/officeDocument/2006/relationships/chart" Target="../charts/chart311.xml"/><Relationship Id="rId13" Type="http://schemas.openxmlformats.org/officeDocument/2006/relationships/chart" Target="../charts/chart31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 Id="rId7" Type="http://schemas.openxmlformats.org/officeDocument/2006/relationships/chart" Target="../charts/chart322.xml"/><Relationship Id="rId8" Type="http://schemas.openxmlformats.org/officeDocument/2006/relationships/chart" Target="../charts/chart323.xml"/><Relationship Id="rId9" Type="http://schemas.openxmlformats.org/officeDocument/2006/relationships/chart" Target="../charts/chart324.xml"/><Relationship Id="rId10" Type="http://schemas.openxmlformats.org/officeDocument/2006/relationships/chart" Target="../charts/chart325.xml"/><Relationship Id="rId11" Type="http://schemas.openxmlformats.org/officeDocument/2006/relationships/chart" Target="../charts/chart326.xml"/><Relationship Id="rId12" Type="http://schemas.openxmlformats.org/officeDocument/2006/relationships/chart" Target="../charts/chart327.xml"/><Relationship Id="rId13" Type="http://schemas.openxmlformats.org/officeDocument/2006/relationships/chart" Target="../charts/chart328.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 Id="rId8" Type="http://schemas.openxmlformats.org/officeDocument/2006/relationships/chart" Target="../charts/chart331.xml"/><Relationship Id="rId9" Type="http://schemas.openxmlformats.org/officeDocument/2006/relationships/chart" Target="../charts/chart332.xml"/><Relationship Id="rId10" Type="http://schemas.openxmlformats.org/officeDocument/2006/relationships/chart" Target="../charts/chart333.xml"/><Relationship Id="rId11" Type="http://schemas.openxmlformats.org/officeDocument/2006/relationships/chart" Target="../charts/chart334.xml"/><Relationship Id="rId12" Type="http://schemas.openxmlformats.org/officeDocument/2006/relationships/chart" Target="../charts/chart335.xml"/><Relationship Id="rId13" Type="http://schemas.openxmlformats.org/officeDocument/2006/relationships/chart" Target="../charts/chart336.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 Id="rId8" Type="http://schemas.openxmlformats.org/officeDocument/2006/relationships/chart" Target="../charts/chart347.xml"/><Relationship Id="rId9" Type="http://schemas.openxmlformats.org/officeDocument/2006/relationships/chart" Target="../charts/chart348.xml"/><Relationship Id="rId10" Type="http://schemas.openxmlformats.org/officeDocument/2006/relationships/chart" Target="../charts/chart349.xml"/><Relationship Id="rId11" Type="http://schemas.openxmlformats.org/officeDocument/2006/relationships/chart" Target="../charts/chart350.xml"/><Relationship Id="rId12" Type="http://schemas.openxmlformats.org/officeDocument/2006/relationships/chart" Target="../charts/chart351.xml"/><Relationship Id="rId13" Type="http://schemas.openxmlformats.org/officeDocument/2006/relationships/chart" Target="../charts/chart352.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 Id="rId7" Type="http://schemas.openxmlformats.org/officeDocument/2006/relationships/chart" Target="../charts/chart370.xml"/><Relationship Id="rId8" Type="http://schemas.openxmlformats.org/officeDocument/2006/relationships/chart" Target="../charts/chart371.xml"/><Relationship Id="rId9" Type="http://schemas.openxmlformats.org/officeDocument/2006/relationships/chart" Target="../charts/chart372.xml"/><Relationship Id="rId10" Type="http://schemas.openxmlformats.org/officeDocument/2006/relationships/chart" Target="../charts/chart373.xml"/><Relationship Id="rId11" Type="http://schemas.openxmlformats.org/officeDocument/2006/relationships/chart" Target="../charts/chart374.xml"/><Relationship Id="rId12" Type="http://schemas.openxmlformats.org/officeDocument/2006/relationships/chart" Target="../charts/chart375.xml"/><Relationship Id="rId13" Type="http://schemas.openxmlformats.org/officeDocument/2006/relationships/chart" Target="../charts/chart376.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 Id="rId7" Type="http://schemas.openxmlformats.org/officeDocument/2006/relationships/chart" Target="../charts/chart378.xml"/><Relationship Id="rId8" Type="http://schemas.openxmlformats.org/officeDocument/2006/relationships/chart" Target="../charts/chart379.xml"/><Relationship Id="rId9" Type="http://schemas.openxmlformats.org/officeDocument/2006/relationships/chart" Target="../charts/chart380.xml"/><Relationship Id="rId10" Type="http://schemas.openxmlformats.org/officeDocument/2006/relationships/chart" Target="../charts/chart381.xml"/><Relationship Id="rId11" Type="http://schemas.openxmlformats.org/officeDocument/2006/relationships/chart" Target="../charts/chart382.xml"/><Relationship Id="rId12" Type="http://schemas.openxmlformats.org/officeDocument/2006/relationships/chart" Target="../charts/chart383.xml"/><Relationship Id="rId13" Type="http://schemas.openxmlformats.org/officeDocument/2006/relationships/chart" Target="../charts/chart384.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xml"/><Relationship Id="rId7" Type="http://schemas.openxmlformats.org/officeDocument/2006/relationships/chart" Target="../charts/chart394.xml"/><Relationship Id="rId8" Type="http://schemas.openxmlformats.org/officeDocument/2006/relationships/chart" Target="../charts/chart395.xml"/><Relationship Id="rId9" Type="http://schemas.openxmlformats.org/officeDocument/2006/relationships/chart" Target="../charts/chart396.xml"/><Relationship Id="rId10" Type="http://schemas.openxmlformats.org/officeDocument/2006/relationships/chart" Target="../charts/chart397.xml"/><Relationship Id="rId11" Type="http://schemas.openxmlformats.org/officeDocument/2006/relationships/chart" Target="../charts/chart398.xml"/><Relationship Id="rId12" Type="http://schemas.openxmlformats.org/officeDocument/2006/relationships/chart" Target="../charts/chart399.xml"/><Relationship Id="rId13" Type="http://schemas.openxmlformats.org/officeDocument/2006/relationships/chart" Target="../charts/chart4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xml"/><Relationship Id="rId7" Type="http://schemas.openxmlformats.org/officeDocument/2006/relationships/chart" Target="../charts/chart402.xml"/><Relationship Id="rId8" Type="http://schemas.openxmlformats.org/officeDocument/2006/relationships/chart" Target="../charts/chart403.xml"/><Relationship Id="rId9" Type="http://schemas.openxmlformats.org/officeDocument/2006/relationships/chart" Target="../charts/chart404.xml"/><Relationship Id="rId10" Type="http://schemas.openxmlformats.org/officeDocument/2006/relationships/chart" Target="../charts/chart405.xml"/><Relationship Id="rId11" Type="http://schemas.openxmlformats.org/officeDocument/2006/relationships/chart" Target="../charts/chart406.xml"/><Relationship Id="rId12" Type="http://schemas.openxmlformats.org/officeDocument/2006/relationships/chart" Target="../charts/chart407.xml"/><Relationship Id="rId13" Type="http://schemas.openxmlformats.org/officeDocument/2006/relationships/chart" Target="../charts/chart408.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7.xml"/><Relationship Id="rId7" Type="http://schemas.openxmlformats.org/officeDocument/2006/relationships/chart" Target="../charts/chart418.xml"/><Relationship Id="rId8" Type="http://schemas.openxmlformats.org/officeDocument/2006/relationships/chart" Target="../charts/chart419.xml"/><Relationship Id="rId9" Type="http://schemas.openxmlformats.org/officeDocument/2006/relationships/chart" Target="../charts/chart420.xml"/><Relationship Id="rId10" Type="http://schemas.openxmlformats.org/officeDocument/2006/relationships/chart" Target="../charts/chart421.xml"/><Relationship Id="rId11" Type="http://schemas.openxmlformats.org/officeDocument/2006/relationships/chart" Target="../charts/chart422.xml"/><Relationship Id="rId12" Type="http://schemas.openxmlformats.org/officeDocument/2006/relationships/chart" Target="../charts/chart423.xml"/><Relationship Id="rId13" Type="http://schemas.openxmlformats.org/officeDocument/2006/relationships/chart" Target="../charts/chart424.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 Id="rId8" Type="http://schemas.openxmlformats.org/officeDocument/2006/relationships/chart" Target="../charts/chart427.xml"/><Relationship Id="rId9" Type="http://schemas.openxmlformats.org/officeDocument/2006/relationships/chart" Target="../charts/chart428.xml"/><Relationship Id="rId10" Type="http://schemas.openxmlformats.org/officeDocument/2006/relationships/chart" Target="../charts/chart429.xml"/><Relationship Id="rId11" Type="http://schemas.openxmlformats.org/officeDocument/2006/relationships/chart" Target="../charts/chart430.xml"/><Relationship Id="rId12" Type="http://schemas.openxmlformats.org/officeDocument/2006/relationships/chart" Target="../charts/chart431.xml"/><Relationship Id="rId13" Type="http://schemas.openxmlformats.org/officeDocument/2006/relationships/chart" Target="../charts/chart432.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9.xml"/><Relationship Id="rId7" Type="http://schemas.openxmlformats.org/officeDocument/2006/relationships/chart" Target="../charts/chart450.xml"/><Relationship Id="rId8" Type="http://schemas.openxmlformats.org/officeDocument/2006/relationships/chart" Target="../charts/chart451.xml"/><Relationship Id="rId9" Type="http://schemas.openxmlformats.org/officeDocument/2006/relationships/chart" Target="../charts/chart452.xml"/><Relationship Id="rId10" Type="http://schemas.openxmlformats.org/officeDocument/2006/relationships/chart" Target="../charts/chart453.xml"/><Relationship Id="rId11" Type="http://schemas.openxmlformats.org/officeDocument/2006/relationships/chart" Target="../charts/chart454.xml"/><Relationship Id="rId12" Type="http://schemas.openxmlformats.org/officeDocument/2006/relationships/chart" Target="../charts/chart455.xml"/><Relationship Id="rId13" Type="http://schemas.openxmlformats.org/officeDocument/2006/relationships/chart" Target="../charts/chart456.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5.xml"/><Relationship Id="rId7" Type="http://schemas.openxmlformats.org/officeDocument/2006/relationships/chart" Target="../charts/chart466.xml"/><Relationship Id="rId8" Type="http://schemas.openxmlformats.org/officeDocument/2006/relationships/chart" Target="../charts/chart467.xml"/><Relationship Id="rId9" Type="http://schemas.openxmlformats.org/officeDocument/2006/relationships/chart" Target="../charts/chart468.xml"/><Relationship Id="rId10" Type="http://schemas.openxmlformats.org/officeDocument/2006/relationships/chart" Target="../charts/chart469.xml"/><Relationship Id="rId11" Type="http://schemas.openxmlformats.org/officeDocument/2006/relationships/chart" Target="../charts/chart470.xml"/><Relationship Id="rId12" Type="http://schemas.openxmlformats.org/officeDocument/2006/relationships/chart" Target="../charts/chart471.xml"/><Relationship Id="rId13" Type="http://schemas.openxmlformats.org/officeDocument/2006/relationships/chart" Target="../charts/chart472.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3.xml"/><Relationship Id="rId7" Type="http://schemas.openxmlformats.org/officeDocument/2006/relationships/chart" Target="../charts/chart474.xml"/><Relationship Id="rId8" Type="http://schemas.openxmlformats.org/officeDocument/2006/relationships/chart" Target="../charts/chart475.xml"/><Relationship Id="rId9" Type="http://schemas.openxmlformats.org/officeDocument/2006/relationships/chart" Target="../charts/chart476.xml"/><Relationship Id="rId10" Type="http://schemas.openxmlformats.org/officeDocument/2006/relationships/chart" Target="../charts/chart477.xml"/><Relationship Id="rId11" Type="http://schemas.openxmlformats.org/officeDocument/2006/relationships/chart" Target="../charts/chart478.xml"/><Relationship Id="rId12" Type="http://schemas.openxmlformats.org/officeDocument/2006/relationships/chart" Target="../charts/chart479.xml"/><Relationship Id="rId13" Type="http://schemas.openxmlformats.org/officeDocument/2006/relationships/chart" Target="../charts/chart48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9.xml"/><Relationship Id="rId7" Type="http://schemas.openxmlformats.org/officeDocument/2006/relationships/chart" Target="../charts/chart490.xml"/><Relationship Id="rId8" Type="http://schemas.openxmlformats.org/officeDocument/2006/relationships/chart" Target="../charts/chart491.xml"/><Relationship Id="rId9" Type="http://schemas.openxmlformats.org/officeDocument/2006/relationships/chart" Target="../charts/chart492.xml"/><Relationship Id="rId10" Type="http://schemas.openxmlformats.org/officeDocument/2006/relationships/chart" Target="../charts/chart493.xml"/><Relationship Id="rId11" Type="http://schemas.openxmlformats.org/officeDocument/2006/relationships/chart" Target="../charts/chart494.xml"/><Relationship Id="rId12" Type="http://schemas.openxmlformats.org/officeDocument/2006/relationships/chart" Target="../charts/chart495.xml"/><Relationship Id="rId13" Type="http://schemas.openxmlformats.org/officeDocument/2006/relationships/chart" Target="../charts/chart496.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7.xml"/><Relationship Id="rId7" Type="http://schemas.openxmlformats.org/officeDocument/2006/relationships/chart" Target="../charts/chart498.xml"/><Relationship Id="rId8" Type="http://schemas.openxmlformats.org/officeDocument/2006/relationships/chart" Target="../charts/chart499.xml"/><Relationship Id="rId9" Type="http://schemas.openxmlformats.org/officeDocument/2006/relationships/chart" Target="../charts/chart500.xml"/><Relationship Id="rId10" Type="http://schemas.openxmlformats.org/officeDocument/2006/relationships/chart" Target="../charts/chart501.xml"/><Relationship Id="rId11" Type="http://schemas.openxmlformats.org/officeDocument/2006/relationships/chart" Target="../charts/chart502.xml"/><Relationship Id="rId12" Type="http://schemas.openxmlformats.org/officeDocument/2006/relationships/chart" Target="../charts/chart503.xml"/><Relationship Id="rId13" Type="http://schemas.openxmlformats.org/officeDocument/2006/relationships/chart" Target="../charts/chart504.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3.xml"/><Relationship Id="rId7" Type="http://schemas.openxmlformats.org/officeDocument/2006/relationships/chart" Target="../charts/chart514.xml"/><Relationship Id="rId8" Type="http://schemas.openxmlformats.org/officeDocument/2006/relationships/chart" Target="../charts/chart515.xml"/><Relationship Id="rId9" Type="http://schemas.openxmlformats.org/officeDocument/2006/relationships/chart" Target="../charts/chart516.xml"/><Relationship Id="rId10" Type="http://schemas.openxmlformats.org/officeDocument/2006/relationships/chart" Target="../charts/chart517.xml"/><Relationship Id="rId11" Type="http://schemas.openxmlformats.org/officeDocument/2006/relationships/chart" Target="../charts/chart518.xml"/><Relationship Id="rId12" Type="http://schemas.openxmlformats.org/officeDocument/2006/relationships/chart" Target="../charts/chart519.xml"/><Relationship Id="rId13" Type="http://schemas.openxmlformats.org/officeDocument/2006/relationships/chart" Target="../charts/chart52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1.xml"/><Relationship Id="rId7" Type="http://schemas.openxmlformats.org/officeDocument/2006/relationships/chart" Target="../charts/chart522.xml"/><Relationship Id="rId8" Type="http://schemas.openxmlformats.org/officeDocument/2006/relationships/chart" Target="../charts/chart523.xml"/><Relationship Id="rId9" Type="http://schemas.openxmlformats.org/officeDocument/2006/relationships/chart" Target="../charts/chart524.xml"/><Relationship Id="rId10" Type="http://schemas.openxmlformats.org/officeDocument/2006/relationships/chart" Target="../charts/chart525.xml"/><Relationship Id="rId11" Type="http://schemas.openxmlformats.org/officeDocument/2006/relationships/chart" Target="../charts/chart526.xml"/><Relationship Id="rId12" Type="http://schemas.openxmlformats.org/officeDocument/2006/relationships/chart" Target="../charts/chart527.xml"/><Relationship Id="rId13" Type="http://schemas.openxmlformats.org/officeDocument/2006/relationships/chart" Target="../charts/chart5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7.xml"/><Relationship Id="rId7" Type="http://schemas.openxmlformats.org/officeDocument/2006/relationships/chart" Target="../charts/chart538.xml"/><Relationship Id="rId8" Type="http://schemas.openxmlformats.org/officeDocument/2006/relationships/chart" Target="../charts/chart539.xml"/><Relationship Id="rId9" Type="http://schemas.openxmlformats.org/officeDocument/2006/relationships/chart" Target="../charts/chart540.xml"/><Relationship Id="rId10" Type="http://schemas.openxmlformats.org/officeDocument/2006/relationships/chart" Target="../charts/chart541.xml"/><Relationship Id="rId11" Type="http://schemas.openxmlformats.org/officeDocument/2006/relationships/chart" Target="../charts/chart542.xml"/><Relationship Id="rId12" Type="http://schemas.openxmlformats.org/officeDocument/2006/relationships/chart" Target="../charts/chart543.xml"/><Relationship Id="rId13" Type="http://schemas.openxmlformats.org/officeDocument/2006/relationships/chart" Target="../charts/chart544.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5.xml"/><Relationship Id="rId7" Type="http://schemas.openxmlformats.org/officeDocument/2006/relationships/chart" Target="../charts/chart546.xml"/><Relationship Id="rId8" Type="http://schemas.openxmlformats.org/officeDocument/2006/relationships/chart" Target="../charts/chart547.xml"/><Relationship Id="rId9" Type="http://schemas.openxmlformats.org/officeDocument/2006/relationships/chart" Target="../charts/chart548.xml"/><Relationship Id="rId10" Type="http://schemas.openxmlformats.org/officeDocument/2006/relationships/chart" Target="../charts/chart549.xml"/><Relationship Id="rId11" Type="http://schemas.openxmlformats.org/officeDocument/2006/relationships/chart" Target="../charts/chart550.xml"/><Relationship Id="rId12" Type="http://schemas.openxmlformats.org/officeDocument/2006/relationships/chart" Target="../charts/chart551.xml"/><Relationship Id="rId13" Type="http://schemas.openxmlformats.org/officeDocument/2006/relationships/chart" Target="../charts/chart55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1.xml"/><Relationship Id="rId7" Type="http://schemas.openxmlformats.org/officeDocument/2006/relationships/chart" Target="../charts/chart562.xml"/><Relationship Id="rId8" Type="http://schemas.openxmlformats.org/officeDocument/2006/relationships/chart" Target="../charts/chart563.xml"/><Relationship Id="rId9" Type="http://schemas.openxmlformats.org/officeDocument/2006/relationships/chart" Target="../charts/chart564.xml"/><Relationship Id="rId10" Type="http://schemas.openxmlformats.org/officeDocument/2006/relationships/chart" Target="../charts/chart565.xml"/><Relationship Id="rId11" Type="http://schemas.openxmlformats.org/officeDocument/2006/relationships/chart" Target="../charts/chart566.xml"/><Relationship Id="rId12" Type="http://schemas.openxmlformats.org/officeDocument/2006/relationships/chart" Target="../charts/chart567.xml"/><Relationship Id="rId13" Type="http://schemas.openxmlformats.org/officeDocument/2006/relationships/chart" Target="../charts/chart568.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9.xml"/><Relationship Id="rId7" Type="http://schemas.openxmlformats.org/officeDocument/2006/relationships/chart" Target="../charts/chart570.xml"/><Relationship Id="rId8" Type="http://schemas.openxmlformats.org/officeDocument/2006/relationships/chart" Target="../charts/chart571.xml"/><Relationship Id="rId9" Type="http://schemas.openxmlformats.org/officeDocument/2006/relationships/chart" Target="../charts/chart572.xml"/><Relationship Id="rId10" Type="http://schemas.openxmlformats.org/officeDocument/2006/relationships/chart" Target="../charts/chart573.xml"/><Relationship Id="rId11" Type="http://schemas.openxmlformats.org/officeDocument/2006/relationships/chart" Target="../charts/chart574.xml"/><Relationship Id="rId12" Type="http://schemas.openxmlformats.org/officeDocument/2006/relationships/chart" Target="../charts/chart575.xml"/><Relationship Id="rId13" Type="http://schemas.openxmlformats.org/officeDocument/2006/relationships/chart" Target="../charts/chart576.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5.xml"/><Relationship Id="rId7" Type="http://schemas.openxmlformats.org/officeDocument/2006/relationships/chart" Target="../charts/chart586.xml"/><Relationship Id="rId8" Type="http://schemas.openxmlformats.org/officeDocument/2006/relationships/chart" Target="../charts/chart587.xml"/><Relationship Id="rId9" Type="http://schemas.openxmlformats.org/officeDocument/2006/relationships/chart" Target="../charts/chart588.xml"/><Relationship Id="rId10" Type="http://schemas.openxmlformats.org/officeDocument/2006/relationships/chart" Target="../charts/chart589.xml"/><Relationship Id="rId11" Type="http://schemas.openxmlformats.org/officeDocument/2006/relationships/chart" Target="../charts/chart590.xml"/><Relationship Id="rId12" Type="http://schemas.openxmlformats.org/officeDocument/2006/relationships/chart" Target="../charts/chart591.xml"/><Relationship Id="rId13" Type="http://schemas.openxmlformats.org/officeDocument/2006/relationships/chart" Target="../charts/chart592.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3.xml"/><Relationship Id="rId7" Type="http://schemas.openxmlformats.org/officeDocument/2006/relationships/chart" Target="../charts/chart594.xml"/><Relationship Id="rId8" Type="http://schemas.openxmlformats.org/officeDocument/2006/relationships/chart" Target="../charts/chart595.xml"/><Relationship Id="rId9" Type="http://schemas.openxmlformats.org/officeDocument/2006/relationships/chart" Target="../charts/chart596.xml"/><Relationship Id="rId10" Type="http://schemas.openxmlformats.org/officeDocument/2006/relationships/chart" Target="../charts/chart597.xml"/><Relationship Id="rId11" Type="http://schemas.openxmlformats.org/officeDocument/2006/relationships/chart" Target="../charts/chart598.xml"/><Relationship Id="rId12" Type="http://schemas.openxmlformats.org/officeDocument/2006/relationships/chart" Target="../charts/chart599.xml"/><Relationship Id="rId13" Type="http://schemas.openxmlformats.org/officeDocument/2006/relationships/chart" Target="../charts/chart60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9.xml"/><Relationship Id="rId7" Type="http://schemas.openxmlformats.org/officeDocument/2006/relationships/chart" Target="../charts/chart610.xml"/><Relationship Id="rId8" Type="http://schemas.openxmlformats.org/officeDocument/2006/relationships/chart" Target="../charts/chart611.xml"/><Relationship Id="rId9" Type="http://schemas.openxmlformats.org/officeDocument/2006/relationships/chart" Target="../charts/chart612.xml"/><Relationship Id="rId10" Type="http://schemas.openxmlformats.org/officeDocument/2006/relationships/chart" Target="../charts/chart613.xml"/><Relationship Id="rId11" Type="http://schemas.openxmlformats.org/officeDocument/2006/relationships/chart" Target="../charts/chart614.xml"/><Relationship Id="rId12" Type="http://schemas.openxmlformats.org/officeDocument/2006/relationships/chart" Target="../charts/chart615.xml"/><Relationship Id="rId13" Type="http://schemas.openxmlformats.org/officeDocument/2006/relationships/chart" Target="../charts/chart616.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3.xml"/><Relationship Id="rId7" Type="http://schemas.openxmlformats.org/officeDocument/2006/relationships/chart" Target="../charts/chart634.xml"/><Relationship Id="rId8" Type="http://schemas.openxmlformats.org/officeDocument/2006/relationships/chart" Target="../charts/chart635.xml"/><Relationship Id="rId9" Type="http://schemas.openxmlformats.org/officeDocument/2006/relationships/chart" Target="../charts/chart636.xml"/><Relationship Id="rId10" Type="http://schemas.openxmlformats.org/officeDocument/2006/relationships/chart" Target="../charts/chart637.xml"/><Relationship Id="rId11" Type="http://schemas.openxmlformats.org/officeDocument/2006/relationships/chart" Target="../charts/chart638.xml"/><Relationship Id="rId12" Type="http://schemas.openxmlformats.org/officeDocument/2006/relationships/chart" Target="../charts/chart639.xml"/><Relationship Id="rId13" Type="http://schemas.openxmlformats.org/officeDocument/2006/relationships/chart" Target="../charts/chart64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1.xml"/><Relationship Id="rId7" Type="http://schemas.openxmlformats.org/officeDocument/2006/relationships/chart" Target="../charts/chart642.xml"/><Relationship Id="rId8" Type="http://schemas.openxmlformats.org/officeDocument/2006/relationships/chart" Target="../charts/chart643.xml"/><Relationship Id="rId9" Type="http://schemas.openxmlformats.org/officeDocument/2006/relationships/chart" Target="../charts/chart644.xml"/><Relationship Id="rId10" Type="http://schemas.openxmlformats.org/officeDocument/2006/relationships/chart" Target="../charts/chart645.xml"/><Relationship Id="rId11" Type="http://schemas.openxmlformats.org/officeDocument/2006/relationships/chart" Target="../charts/chart646.xml"/><Relationship Id="rId12" Type="http://schemas.openxmlformats.org/officeDocument/2006/relationships/chart" Target="../charts/chart647.xml"/><Relationship Id="rId13" Type="http://schemas.openxmlformats.org/officeDocument/2006/relationships/chart" Target="../charts/chart64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 Id="rId7" Type="http://schemas.openxmlformats.org/officeDocument/2006/relationships/chart" Target="../charts/chart650.xml"/><Relationship Id="rId8" Type="http://schemas.openxmlformats.org/officeDocument/2006/relationships/chart" Target="../charts/chart651.xml"/><Relationship Id="rId9" Type="http://schemas.openxmlformats.org/officeDocument/2006/relationships/chart" Target="../charts/chart652.xml"/><Relationship Id="rId10" Type="http://schemas.openxmlformats.org/officeDocument/2006/relationships/chart" Target="../charts/chart653.xml"/><Relationship Id="rId11" Type="http://schemas.openxmlformats.org/officeDocument/2006/relationships/chart" Target="../charts/chart654.xml"/><Relationship Id="rId12" Type="http://schemas.openxmlformats.org/officeDocument/2006/relationships/chart" Target="../charts/chart655.xml"/><Relationship Id="rId13" Type="http://schemas.openxmlformats.org/officeDocument/2006/relationships/chart" Target="../charts/chart656.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7.xml"/><Relationship Id="rId7" Type="http://schemas.openxmlformats.org/officeDocument/2006/relationships/chart" Target="../charts/chart658.xml"/><Relationship Id="rId8" Type="http://schemas.openxmlformats.org/officeDocument/2006/relationships/chart" Target="../charts/chart659.xml"/><Relationship Id="rId9" Type="http://schemas.openxmlformats.org/officeDocument/2006/relationships/chart" Target="../charts/chart660.xml"/><Relationship Id="rId10" Type="http://schemas.openxmlformats.org/officeDocument/2006/relationships/chart" Target="../charts/chart661.xml"/><Relationship Id="rId11" Type="http://schemas.openxmlformats.org/officeDocument/2006/relationships/chart" Target="../charts/chart662.xml"/><Relationship Id="rId12" Type="http://schemas.openxmlformats.org/officeDocument/2006/relationships/chart" Target="../charts/chart663.xml"/><Relationship Id="rId13" Type="http://schemas.openxmlformats.org/officeDocument/2006/relationships/chart" Target="../charts/chart664.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5.xml"/><Relationship Id="rId7" Type="http://schemas.openxmlformats.org/officeDocument/2006/relationships/chart" Target="../charts/chart666.xml"/><Relationship Id="rId8" Type="http://schemas.openxmlformats.org/officeDocument/2006/relationships/chart" Target="../charts/chart667.xml"/><Relationship Id="rId9" Type="http://schemas.openxmlformats.org/officeDocument/2006/relationships/chart" Target="../charts/chart668.xml"/><Relationship Id="rId10" Type="http://schemas.openxmlformats.org/officeDocument/2006/relationships/chart" Target="../charts/chart669.xml"/><Relationship Id="rId11" Type="http://schemas.openxmlformats.org/officeDocument/2006/relationships/chart" Target="../charts/chart670.xml"/><Relationship Id="rId12" Type="http://schemas.openxmlformats.org/officeDocument/2006/relationships/chart" Target="../charts/chart671.xml"/><Relationship Id="rId13" Type="http://schemas.openxmlformats.org/officeDocument/2006/relationships/chart" Target="../charts/chart672.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 Id="rId8" Type="http://schemas.openxmlformats.org/officeDocument/2006/relationships/chart" Target="../charts/chart675.xml"/><Relationship Id="rId9" Type="http://schemas.openxmlformats.org/officeDocument/2006/relationships/chart" Target="../charts/chart676.xml"/><Relationship Id="rId10" Type="http://schemas.openxmlformats.org/officeDocument/2006/relationships/chart" Target="../charts/chart677.xml"/><Relationship Id="rId11" Type="http://schemas.openxmlformats.org/officeDocument/2006/relationships/chart" Target="../charts/chart678.xml"/><Relationship Id="rId12" Type="http://schemas.openxmlformats.org/officeDocument/2006/relationships/chart" Target="../charts/chart679.xml"/><Relationship Id="rId13" Type="http://schemas.openxmlformats.org/officeDocument/2006/relationships/chart" Target="../charts/chart68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1.xml"/><Relationship Id="rId7" Type="http://schemas.openxmlformats.org/officeDocument/2006/relationships/chart" Target="../charts/chart682.xml"/><Relationship Id="rId8" Type="http://schemas.openxmlformats.org/officeDocument/2006/relationships/chart" Target="../charts/chart683.xml"/><Relationship Id="rId9" Type="http://schemas.openxmlformats.org/officeDocument/2006/relationships/chart" Target="../charts/chart684.xml"/><Relationship Id="rId10" Type="http://schemas.openxmlformats.org/officeDocument/2006/relationships/chart" Target="../charts/chart685.xml"/><Relationship Id="rId11" Type="http://schemas.openxmlformats.org/officeDocument/2006/relationships/chart" Target="../charts/chart686.xml"/><Relationship Id="rId12" Type="http://schemas.openxmlformats.org/officeDocument/2006/relationships/chart" Target="../charts/chart687.xml"/><Relationship Id="rId13" Type="http://schemas.openxmlformats.org/officeDocument/2006/relationships/chart" Target="../charts/chart688.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9.xml"/><Relationship Id="rId7" Type="http://schemas.openxmlformats.org/officeDocument/2006/relationships/chart" Target="../charts/chart690.xml"/><Relationship Id="rId8" Type="http://schemas.openxmlformats.org/officeDocument/2006/relationships/chart" Target="../charts/chart691.xml"/><Relationship Id="rId9" Type="http://schemas.openxmlformats.org/officeDocument/2006/relationships/chart" Target="../charts/chart692.xml"/><Relationship Id="rId10" Type="http://schemas.openxmlformats.org/officeDocument/2006/relationships/chart" Target="../charts/chart693.xml"/><Relationship Id="rId11" Type="http://schemas.openxmlformats.org/officeDocument/2006/relationships/chart" Target="../charts/chart694.xml"/><Relationship Id="rId12" Type="http://schemas.openxmlformats.org/officeDocument/2006/relationships/chart" Target="../charts/chart695.xml"/><Relationship Id="rId13" Type="http://schemas.openxmlformats.org/officeDocument/2006/relationships/chart" Target="../charts/chart69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7.xml"/><Relationship Id="rId7" Type="http://schemas.openxmlformats.org/officeDocument/2006/relationships/chart" Target="../charts/chart698.xml"/><Relationship Id="rId8" Type="http://schemas.openxmlformats.org/officeDocument/2006/relationships/chart" Target="../charts/chart699.xml"/><Relationship Id="rId9" Type="http://schemas.openxmlformats.org/officeDocument/2006/relationships/chart" Target="../charts/chart700.xml"/><Relationship Id="rId10" Type="http://schemas.openxmlformats.org/officeDocument/2006/relationships/chart" Target="../charts/chart701.xml"/><Relationship Id="rId11" Type="http://schemas.openxmlformats.org/officeDocument/2006/relationships/chart" Target="../charts/chart702.xml"/><Relationship Id="rId12" Type="http://schemas.openxmlformats.org/officeDocument/2006/relationships/chart" Target="../charts/chart703.xml"/><Relationship Id="rId13" Type="http://schemas.openxmlformats.org/officeDocument/2006/relationships/chart" Target="../charts/chart704.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 Id="rId8" Type="http://schemas.openxmlformats.org/officeDocument/2006/relationships/chart" Target="../charts/chart707.xml"/><Relationship Id="rId9" Type="http://schemas.openxmlformats.org/officeDocument/2006/relationships/chart" Target="../charts/chart708.xml"/><Relationship Id="rId10" Type="http://schemas.openxmlformats.org/officeDocument/2006/relationships/chart" Target="../charts/chart709.xml"/><Relationship Id="rId11" Type="http://schemas.openxmlformats.org/officeDocument/2006/relationships/chart" Target="../charts/chart710.xml"/><Relationship Id="rId12" Type="http://schemas.openxmlformats.org/officeDocument/2006/relationships/chart" Target="../charts/chart711.xml"/><Relationship Id="rId13" Type="http://schemas.openxmlformats.org/officeDocument/2006/relationships/chart" Target="../charts/chart712.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3.xml"/><Relationship Id="rId7" Type="http://schemas.openxmlformats.org/officeDocument/2006/relationships/chart" Target="../charts/chart714.xml"/><Relationship Id="rId8" Type="http://schemas.openxmlformats.org/officeDocument/2006/relationships/chart" Target="../charts/chart715.xml"/><Relationship Id="rId9" Type="http://schemas.openxmlformats.org/officeDocument/2006/relationships/chart" Target="../charts/chart716.xml"/><Relationship Id="rId10" Type="http://schemas.openxmlformats.org/officeDocument/2006/relationships/chart" Target="../charts/chart717.xml"/><Relationship Id="rId11" Type="http://schemas.openxmlformats.org/officeDocument/2006/relationships/chart" Target="../charts/chart718.xml"/><Relationship Id="rId12" Type="http://schemas.openxmlformats.org/officeDocument/2006/relationships/chart" Target="../charts/chart719.xml"/><Relationship Id="rId13" Type="http://schemas.openxmlformats.org/officeDocument/2006/relationships/chart" Target="../charts/chart7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865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3900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1690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181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3245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2982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860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9648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4012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9304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84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4726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3766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8776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8966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1836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7294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3259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34139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6481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02889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4693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774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4146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280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350378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31763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451945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66153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706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88254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914775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03130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8121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191493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60408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975192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6838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2450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306161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80783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10385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548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72275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87143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4336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273074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496347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17729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69136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40535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448721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84309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50197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04930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19412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575790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731991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964447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149162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0790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12764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662469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981839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010847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43026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97031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6382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188211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592421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467174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29918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386076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4719618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823685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071467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93838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0502964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5540510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513938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3378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680671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129159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462089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00747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808499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372857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14963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35645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73739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8910</Words>
  <Application>Microsoft Office PowerPoint</Application>
  <PresentationFormat>On-screen Show (16:9)</PresentationFormat>
  <Paragraphs>3150</Paragraphs>
  <Slides>90</Slides>
  <Notes>9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